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6" r:id="rId1"/>
  </p:sldMasterIdLst>
  <p:notesMasterIdLst>
    <p:notesMasterId r:id="rId23"/>
  </p:notesMasterIdLst>
  <p:handoutMasterIdLst>
    <p:handoutMasterId r:id="rId24"/>
  </p:handoutMasterIdLst>
  <p:sldIdLst>
    <p:sldId id="256" r:id="rId2"/>
    <p:sldId id="372" r:id="rId3"/>
    <p:sldId id="373" r:id="rId4"/>
    <p:sldId id="379" r:id="rId5"/>
    <p:sldId id="392" r:id="rId6"/>
    <p:sldId id="282" r:id="rId7"/>
    <p:sldId id="378" r:id="rId8"/>
    <p:sldId id="291" r:id="rId9"/>
    <p:sldId id="386" r:id="rId10"/>
    <p:sldId id="377" r:id="rId11"/>
    <p:sldId id="380" r:id="rId12"/>
    <p:sldId id="393" r:id="rId13"/>
    <p:sldId id="376" r:id="rId14"/>
    <p:sldId id="398" r:id="rId15"/>
    <p:sldId id="400" r:id="rId16"/>
    <p:sldId id="383" r:id="rId17"/>
    <p:sldId id="381" r:id="rId18"/>
    <p:sldId id="382" r:id="rId19"/>
    <p:sldId id="385" r:id="rId20"/>
    <p:sldId id="390" r:id="rId21"/>
    <p:sldId id="371" r:id="rId22"/>
  </p:sldIdLst>
  <p:sldSz cx="9144000" cy="6858000" type="screen4x3"/>
  <p:notesSz cx="6858000" cy="9144000"/>
  <p:defaultTextStyle>
    <a:defPPr>
      <a:defRPr lang="hu-H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422E"/>
    <a:srgbClr val="7271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34" autoAdjust="0"/>
    <p:restoredTop sz="68978" autoAdjust="0"/>
  </p:normalViewPr>
  <p:slideViewPr>
    <p:cSldViewPr snapToObjects="1">
      <p:cViewPr varScale="1">
        <p:scale>
          <a:sx n="80" d="100"/>
          <a:sy n="80" d="100"/>
        </p:scale>
        <p:origin x="2364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858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349391-E57A-EE4F-93FA-FBFBA7A80823}" type="datetimeFigureOut">
              <a:rPr lang="hu-HU" smtClean="0"/>
              <a:pPr/>
              <a:t>2018.09.18.</a:t>
            </a:fld>
            <a:endParaRPr lang="hu-H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E4910C-3B60-B643-9B89-DB318C1B93E2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1487383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14BA2D-E8EA-D544-BFF7-312AA3FE3E9E}" type="datetimeFigureOut">
              <a:rPr lang="hu-HU" smtClean="0"/>
              <a:pPr/>
              <a:t>2018.09.18.</a:t>
            </a:fld>
            <a:endParaRPr lang="hu-H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t-EE" smtClean="0"/>
              <a:t>Click to edit Master text styles</a:t>
            </a:r>
          </a:p>
          <a:p>
            <a:pPr lvl="1"/>
            <a:r>
              <a:rPr lang="et-EE" smtClean="0"/>
              <a:t>Second level</a:t>
            </a:r>
          </a:p>
          <a:p>
            <a:pPr lvl="2"/>
            <a:r>
              <a:rPr lang="et-EE" smtClean="0"/>
              <a:t>Third level</a:t>
            </a:r>
          </a:p>
          <a:p>
            <a:pPr lvl="3"/>
            <a:r>
              <a:rPr lang="et-EE" smtClean="0"/>
              <a:t>Fourth level</a:t>
            </a:r>
          </a:p>
          <a:p>
            <a:pPr lvl="4"/>
            <a:r>
              <a:rPr lang="et-EE" smtClean="0"/>
              <a:t>Fifth level</a:t>
            </a:r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6C2E94-D0E3-3F49-988A-96C468F351E2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9622595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 smtClean="0"/>
          </a:p>
          <a:p>
            <a:endParaRPr lang="en-US" noProof="0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194130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1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253133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1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613456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u-HU" sz="1200" b="1" dirty="0" smtClean="0">
              <a:solidFill>
                <a:srgbClr val="FF0000"/>
              </a:solidFill>
              <a:latin typeface="Helvetica-AH"/>
              <a:cs typeface="Helvetica-AH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1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991726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u-HU" sz="1200" b="1" dirty="0" smtClean="0">
              <a:solidFill>
                <a:srgbClr val="FF0000"/>
              </a:solidFill>
              <a:latin typeface="Helvetica-AH"/>
              <a:cs typeface="Helvetica-AH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1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09516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6CE0D-4221-46FD-87E1-044FE12A5A10}" type="slidenum">
              <a:rPr lang="hu-HU" smtClean="0"/>
              <a:t>1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261676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1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017386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="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1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345955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="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1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487663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="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1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311468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="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1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685909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="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2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64510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2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029766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2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12457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3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875729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216139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="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496162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endParaRPr lang="en-US" sz="1200" kern="1200" noProof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589114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843801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605601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C2E94-D0E3-3F49-988A-96C468F351E2}" type="slidenum">
              <a:rPr lang="hu-HU" smtClean="0"/>
              <a:pPr/>
              <a:t>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41679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Kattintson ide az alcím mintájának szerkesztéséhez</a:t>
            </a:r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70AB1-3171-4DF0-96AD-103999A99EEB}" type="datetime1">
              <a:rPr lang="hu-HU" smtClean="0"/>
              <a:t>2018.09.1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zent István University, 2100 Gödöllô, Páter Károly street 1. Tel.: 06-28-522-000. </a:t>
            </a: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904B6-6AED-440A-A7BD-F2B1944B9ADB}" type="datetime1">
              <a:rPr lang="hu-HU" smtClean="0"/>
              <a:t>2018.09.1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zent István University, 2100 Gödöllô, Páter Károly street 1. Tel.: 06-28-522-000. </a:t>
            </a: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5E16D4-CBFE-46A0-820C-29C13699A801}" type="datetime1">
              <a:rPr lang="hu-HU" smtClean="0"/>
              <a:t>2018.09.1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zent István University, 2100 Gödöllô, Páter Károly street 1. Tel.: 06-28-522-000. </a:t>
            </a: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4" imgW="245" imgH="244" progId="TCLayout.ActiveDocument.1">
                  <p:embed/>
                </p:oleObj>
              </mc:Choice>
              <mc:Fallback>
                <p:oleObj name="think-cell Slide" r:id="rId4" imgW="245" imgH="2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97878" y="6624638"/>
            <a:ext cx="2718200" cy="153888"/>
          </a:xfrm>
        </p:spPr>
        <p:txBody>
          <a:bodyPr/>
          <a:lstStyle/>
          <a:p>
            <a:pPr>
              <a:defRPr/>
            </a:pPr>
            <a:r>
              <a:rPr lang="hu-HU" smtClean="0"/>
              <a:t>Szent István University, 2100 Gödöllô, Páter Károly street 1. Tel.: 06-28-522-000. 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66864" y="3082821"/>
            <a:ext cx="8264656" cy="1362282"/>
          </a:xfrm>
        </p:spPr>
        <p:txBody>
          <a:bodyPr lIns="180000" anchor="ctr">
            <a:noAutofit/>
          </a:bodyPr>
          <a:lstStyle>
            <a:lvl1pPr>
              <a:spcBef>
                <a:spcPts val="1595"/>
              </a:spcBef>
              <a:defRPr/>
            </a:lvl1pPr>
            <a:lvl2pPr>
              <a:spcBef>
                <a:spcPts val="1595"/>
              </a:spcBef>
              <a:buSzPct val="70000"/>
              <a:defRPr b="1"/>
            </a:lvl2pPr>
            <a:lvl3pPr marL="174386" indent="-174386">
              <a:spcBef>
                <a:spcPts val="1595"/>
              </a:spcBef>
              <a:buSzPct val="70000"/>
              <a:buFont typeface="Wingdings" pitchFamily="2" charset="2"/>
              <a:buChar char="n"/>
              <a:defRPr/>
            </a:lvl3pPr>
            <a:lvl4pPr marL="353167" indent="-175851">
              <a:spcBef>
                <a:spcPts val="1595"/>
              </a:spcBef>
              <a:buSzPct val="100000"/>
              <a:buFont typeface="Arial" panose="020B0604020202020204" pitchFamily="34" charset="0"/>
              <a:buChar char="–"/>
              <a:defRPr lang="de-DE" sz="1662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501174" indent="-172920">
              <a:spcBef>
                <a:spcPts val="1595"/>
              </a:spcBef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328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9301C-B464-4F8F-98E3-12024EB07A8D}" type="datetime1">
              <a:rPr lang="hu-HU" smtClean="0"/>
              <a:t>2018.09.1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zent István University, 2100 Gödöllô, Páter Károly street 1. Tel.: 06-28-522-000. </a:t>
            </a: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3BF58-0B19-4843-842E-55C72C8DD070}" type="datetime1">
              <a:rPr lang="hu-HU" smtClean="0"/>
              <a:t>2018.09.1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zent István University, 2100 Gödöllô, Páter Károly street 1. Tel.: 06-28-522-000. </a:t>
            </a: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4BC22-8C68-43E1-814A-5FDCE653756F}" type="datetime1">
              <a:rPr lang="hu-HU" smtClean="0"/>
              <a:t>2018.09.18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zent István University, 2100 Gödöllô, Páter Károly street 1. Tel.: 06-28-522-000. </a:t>
            </a:r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01A1F-57E4-48E4-B1D2-5AB22F55AF3C}" type="datetime1">
              <a:rPr lang="hu-HU" smtClean="0"/>
              <a:t>2018.09.18.</a:t>
            </a:fld>
            <a:endParaRPr lang="hu-H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zent István University, 2100 Gödöllô, Páter Károly street 1. Tel.: 06-28-522-000. </a:t>
            </a:r>
            <a:endParaRPr lang="hu-H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35AB53-820F-431F-BA81-B797B8924700}" type="datetime1">
              <a:rPr lang="hu-HU" smtClean="0"/>
              <a:t>2018.09.18.</a:t>
            </a:fld>
            <a:endParaRPr lang="hu-H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zent István University, 2100 Gödöllô, Páter Károly street 1. Tel.: 06-28-522-000. </a:t>
            </a:r>
            <a:endParaRPr lang="hu-H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723852-3C34-4D7F-AAF1-11D85A43087F}" type="datetime1">
              <a:rPr lang="hu-HU" smtClean="0"/>
              <a:t>2018.09.18.</a:t>
            </a:fld>
            <a:endParaRPr lang="hu-H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zent István University, 2100 Gödöllô, Páter Károly street 1. Tel.: 06-28-522-000. </a:t>
            </a:r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59412F-0B2E-4F97-B387-A4DCC7211448}" type="datetime1">
              <a:rPr lang="hu-HU" smtClean="0"/>
              <a:t>2018.09.18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zent István University, 2100 Gödöllô, Páter Károly street 1. Tel.: 06-28-522-000. </a:t>
            </a:r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hu-HU" smtClean="0"/>
              <a:t>Kép beszúrásához kattintson az ikonra</a:t>
            </a:r>
            <a:endParaRPr lang="hu-H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4E5F4-D046-451F-BD20-EA67BA4E6945}" type="datetime1">
              <a:rPr lang="hu-HU" smtClean="0"/>
              <a:t>2018.09.18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zent István University, 2100 Gödöllô, Páter Károly street 1. Tel.: 06-28-522-000. </a:t>
            </a:r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F1C78A-04D9-4567-8B9B-3B6673777DC9}" type="datetime1">
              <a:rPr lang="hu-HU" smtClean="0"/>
              <a:t>2018.09.18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Szent István University, 2100 Gödöllô, Páter Károly street 1. Tel.: 06-28-522-000. </a:t>
            </a: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38EB3C-143C-A740-ACDC-C0B174B8B938}" type="slidenum">
              <a:rPr lang="hu-HU" smtClean="0"/>
              <a:pPr/>
              <a:t>‹#›</a:t>
            </a:fld>
            <a:endParaRPr lang="hu-H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4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23.png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25.png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microsoft.com/office/2007/relationships/hdphoto" Target="../media/hdphoto4.wdp"/><Relationship Id="rId5" Type="http://schemas.openxmlformats.org/officeDocument/2006/relationships/image" Target="../media/image26.png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microsoft.com/office/2007/relationships/hdphoto" Target="../media/hdphoto5.wdp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jpg"/><Relationship Id="rId5" Type="http://schemas.openxmlformats.org/officeDocument/2006/relationships/image" Target="../media/image30.jpg"/><Relationship Id="rId4" Type="http://schemas.openxmlformats.org/officeDocument/2006/relationships/image" Target="../media/image29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png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microsoft.com/office/2007/relationships/hdphoto" Target="../media/hdphoto6.wdp"/><Relationship Id="rId5" Type="http://schemas.openxmlformats.org/officeDocument/2006/relationships/image" Target="../media/image35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38.png"/><Relationship Id="rId12" Type="http://schemas.openxmlformats.org/officeDocument/2006/relationships/image" Target="../media/image43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7.emf"/><Relationship Id="rId11" Type="http://schemas.openxmlformats.org/officeDocument/2006/relationships/image" Target="../media/image42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1.jpeg"/><Relationship Id="rId4" Type="http://schemas.openxmlformats.org/officeDocument/2006/relationships/image" Target="../media/image4.jpeg"/><Relationship Id="rId9" Type="http://schemas.openxmlformats.org/officeDocument/2006/relationships/image" Target="../media/image4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4.jpeg"/><Relationship Id="rId7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jpg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jpg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0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289"/>
            <a:ext cx="9136534" cy="6839711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583668" y="2780928"/>
            <a:ext cx="7128792" cy="1872208"/>
          </a:xfrm>
        </p:spPr>
        <p:txBody>
          <a:bodyPr>
            <a:normAutofit fontScale="90000"/>
          </a:bodyPr>
          <a:lstStyle/>
          <a:p>
            <a:r>
              <a:rPr lang="en-US" altLang="hu-HU" b="1" dirty="0"/>
              <a:t>Internet of Things in Agricultural Education, </a:t>
            </a:r>
            <a:r>
              <a:rPr lang="hu-HU" altLang="hu-HU" b="1" dirty="0" smtClean="0"/>
              <a:t/>
            </a:r>
            <a:br>
              <a:rPr lang="hu-HU" altLang="hu-HU" b="1" dirty="0" smtClean="0"/>
            </a:br>
            <a:r>
              <a:rPr lang="en-US" altLang="hu-HU" b="1" dirty="0" smtClean="0"/>
              <a:t>the </a:t>
            </a:r>
            <a:r>
              <a:rPr lang="en-US" altLang="hu-HU" b="1" dirty="0" err="1"/>
              <a:t>Gödöllő</a:t>
            </a:r>
            <a:r>
              <a:rPr lang="en-US" altLang="hu-HU" b="1" dirty="0"/>
              <a:t> example</a:t>
            </a:r>
            <a:endParaRPr lang="hu-HU" dirty="0">
              <a:latin typeface="Bembo-AH-Bold"/>
              <a:cs typeface="Bembo-AH-Bold"/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3204964" y="5071492"/>
            <a:ext cx="3886200" cy="1224136"/>
          </a:xfrm>
        </p:spPr>
        <p:txBody>
          <a:bodyPr>
            <a:noAutofit/>
          </a:bodyPr>
          <a:lstStyle/>
          <a:p>
            <a:r>
              <a:rPr lang="en-US" altLang="hu-HU" sz="2400" b="1" dirty="0" err="1" smtClean="0">
                <a:solidFill>
                  <a:schemeClr val="tx1"/>
                </a:solidFill>
              </a:rPr>
              <a:t>Ferenc</a:t>
            </a:r>
            <a:r>
              <a:rPr lang="en-US" altLang="hu-HU" sz="2400" b="1" dirty="0" smtClean="0">
                <a:solidFill>
                  <a:schemeClr val="tx1"/>
                </a:solidFill>
              </a:rPr>
              <a:t> Magyar chancellor</a:t>
            </a:r>
          </a:p>
          <a:p>
            <a:r>
              <a:rPr lang="en-US" altLang="hu-HU" sz="2400" b="1" dirty="0" smtClean="0">
                <a:solidFill>
                  <a:schemeClr val="tx1"/>
                </a:solidFill>
              </a:rPr>
              <a:t>Tibor Mezei adviser</a:t>
            </a:r>
            <a:br>
              <a:rPr lang="en-US" altLang="hu-HU" sz="2400" b="1" dirty="0" smtClean="0">
                <a:solidFill>
                  <a:schemeClr val="tx1"/>
                </a:solidFill>
              </a:rPr>
            </a:br>
            <a:r>
              <a:rPr lang="en-US" altLang="hu-HU" sz="2400" b="1" dirty="0" err="1" smtClean="0">
                <a:solidFill>
                  <a:schemeClr val="tx1"/>
                </a:solidFill>
              </a:rPr>
              <a:t>Szent</a:t>
            </a:r>
            <a:r>
              <a:rPr lang="en-US" altLang="hu-HU" sz="2400" b="1" dirty="0" smtClean="0">
                <a:solidFill>
                  <a:schemeClr val="tx1"/>
                </a:solidFill>
              </a:rPr>
              <a:t> </a:t>
            </a:r>
            <a:r>
              <a:rPr lang="en-US" altLang="hu-HU" sz="2400" b="1" dirty="0" err="1" smtClean="0">
                <a:solidFill>
                  <a:schemeClr val="tx1"/>
                </a:solidFill>
              </a:rPr>
              <a:t>István</a:t>
            </a:r>
            <a:r>
              <a:rPr lang="en-US" altLang="hu-HU" sz="2400" b="1" dirty="0" smtClean="0">
                <a:solidFill>
                  <a:schemeClr val="tx1"/>
                </a:solidFill>
              </a:rPr>
              <a:t> University </a:t>
            </a:r>
            <a:endParaRPr lang="en-US" altLang="hu-HU" sz="2400" b="1" dirty="0">
              <a:solidFill>
                <a:schemeClr val="tx1"/>
              </a:solidFill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6162" y="1124744"/>
            <a:ext cx="5347958" cy="142479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2" y="0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19882" y="1022285"/>
            <a:ext cx="7484565" cy="907652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Difficulties</a:t>
            </a:r>
            <a:endParaRPr lang="en-US" sz="3600" b="1" dirty="0">
              <a:solidFill>
                <a:srgbClr val="09422E"/>
              </a:solidFill>
              <a:latin typeface="Bembo-AH-Bold"/>
              <a:cs typeface="Bembo-AH-Bold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43607" y="2420888"/>
            <a:ext cx="7560839" cy="3811636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hu-HU" sz="2400" b="1" dirty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	</a:t>
            </a:r>
            <a:r>
              <a:rPr lang="hu-HU" sz="2400" b="1" dirty="0" smtClean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A</a:t>
            </a: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1101212" y="1921644"/>
            <a:ext cx="3480040" cy="3811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1101212" y="2151310"/>
            <a:ext cx="3480040" cy="4099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2">
                  <a:lumMod val="75000"/>
                </a:schemeClr>
              </a:solidFill>
              <a:latin typeface="Helvetica-AH"/>
              <a:cs typeface="Helvetica-AH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6" name="Kép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87603" y="1921644"/>
            <a:ext cx="4152663" cy="4328748"/>
          </a:xfrm>
          <a:prstGeom prst="rect">
            <a:avLst/>
          </a:prstGeom>
        </p:spPr>
      </p:pic>
      <p:pic>
        <p:nvPicPr>
          <p:cNvPr id="9" name="Kép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5697" y="1959508"/>
            <a:ext cx="4154301" cy="4290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87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2" y="0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19882" y="1022285"/>
            <a:ext cx="7484565" cy="907652"/>
          </a:xfrm>
        </p:spPr>
        <p:txBody>
          <a:bodyPr>
            <a:normAutofit/>
          </a:bodyPr>
          <a:lstStyle/>
          <a:p>
            <a:r>
              <a:rPr lang="hu-HU" sz="3600" b="1" dirty="0">
                <a:solidFill>
                  <a:srgbClr val="09422E"/>
                </a:solidFill>
                <a:latin typeface="Bembo-AH-Bold"/>
                <a:cs typeface="Bembo-AH-Bold"/>
              </a:rPr>
              <a:t>D</a:t>
            </a:r>
            <a:r>
              <a:rPr lang="en-US" sz="3600" b="1" dirty="0" err="1" smtClean="0">
                <a:solidFill>
                  <a:srgbClr val="09422E"/>
                </a:solidFill>
                <a:latin typeface="Bembo-AH-Bold"/>
                <a:cs typeface="Bembo-AH-Bold"/>
              </a:rPr>
              <a:t>ifficulties</a:t>
            </a:r>
            <a:endParaRPr lang="en-US" sz="3600" b="1" dirty="0">
              <a:solidFill>
                <a:srgbClr val="09422E"/>
              </a:solidFill>
              <a:latin typeface="Bembo-AH-Bold"/>
              <a:cs typeface="Bembo-AH-Bold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43607" y="2420888"/>
            <a:ext cx="7560839" cy="3811636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hu-HU" sz="2400" b="1" dirty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	</a:t>
            </a:r>
            <a:r>
              <a:rPr lang="hu-HU" sz="2400" b="1" dirty="0" smtClean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A</a:t>
            </a: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1101212" y="1921644"/>
            <a:ext cx="3480040" cy="3811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1101212" y="2151310"/>
            <a:ext cx="3480040" cy="4099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2">
                  <a:lumMod val="75000"/>
                </a:schemeClr>
              </a:solidFill>
              <a:latin typeface="Helvetica-AH"/>
              <a:cs typeface="Helvetica-AH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12" name="Kép 1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6754" y="2031525"/>
            <a:ext cx="4157636" cy="4354948"/>
          </a:xfrm>
          <a:prstGeom prst="rect">
            <a:avLst/>
          </a:prstGeom>
        </p:spPr>
      </p:pic>
      <p:pic>
        <p:nvPicPr>
          <p:cNvPr id="13" name="Kép 12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801995" y="2056509"/>
            <a:ext cx="4113405" cy="4266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37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2" y="0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9512" y="1051175"/>
            <a:ext cx="8960754" cy="870469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09422E"/>
                </a:solidFill>
                <a:latin typeface="Bembo-AH-Bold"/>
                <a:cs typeface="Bembo-AH-Bold"/>
              </a:rPr>
              <a:t>Major components </a:t>
            </a:r>
            <a:r>
              <a:rPr lang="en-US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of</a:t>
            </a:r>
            <a:r>
              <a:rPr lang="hu-HU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 </a:t>
            </a:r>
            <a:r>
              <a:rPr lang="en-US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Internet </a:t>
            </a:r>
            <a:r>
              <a:rPr lang="en-US" sz="3200" b="1" dirty="0">
                <a:solidFill>
                  <a:srgbClr val="09422E"/>
                </a:solidFill>
                <a:latin typeface="Bembo-AH-Bold"/>
                <a:cs typeface="Bembo-AH-Bold"/>
              </a:rPr>
              <a:t>of Things (</a:t>
            </a:r>
            <a:r>
              <a:rPr lang="en-US" sz="3200" b="1" dirty="0" err="1" smtClean="0">
                <a:solidFill>
                  <a:srgbClr val="09422E"/>
                </a:solidFill>
                <a:latin typeface="Bembo-AH-Bold"/>
                <a:cs typeface="Bembo-AH-Bold"/>
              </a:rPr>
              <a:t>IoT</a:t>
            </a:r>
            <a:r>
              <a:rPr lang="en-US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)</a:t>
            </a:r>
            <a:endParaRPr lang="en-US" sz="3200" b="1" dirty="0">
              <a:solidFill>
                <a:srgbClr val="FF0000"/>
              </a:solidFill>
              <a:latin typeface="Bembo-AH-Bold"/>
              <a:cs typeface="Bembo-AH-Bold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5576" y="1826059"/>
            <a:ext cx="8073050" cy="3672961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sz="2400" b="1" dirty="0">
                <a:solidFill>
                  <a:srgbClr val="FF0000"/>
                </a:solidFill>
                <a:latin typeface="Bembo-AH-Bold"/>
                <a:cs typeface="Bembo-AH-Bold"/>
              </a:rPr>
              <a:t>Every smart or intelligent thing, object, device, machine connects to the Internet </a:t>
            </a:r>
            <a:endParaRPr lang="en-US" sz="2400" b="1" dirty="0">
              <a:solidFill>
                <a:srgbClr val="FF0000"/>
              </a:solidFill>
              <a:latin typeface="Helvetica-AH"/>
              <a:cs typeface="Helvetica-AH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1101212" y="1921644"/>
            <a:ext cx="3480040" cy="3811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1101212" y="2151310"/>
            <a:ext cx="3480040" cy="4099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2">
                  <a:lumMod val="75000"/>
                </a:schemeClr>
              </a:solidFill>
              <a:latin typeface="Helvetica-AH"/>
              <a:cs typeface="Helvetica-AH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6" name="Kép 5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6973" y="2680112"/>
            <a:ext cx="7205831" cy="4177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232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2" y="0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19882" y="1022285"/>
            <a:ext cx="7795518" cy="1028990"/>
          </a:xfrm>
        </p:spPr>
        <p:txBody>
          <a:bodyPr>
            <a:noAutofit/>
          </a:bodyPr>
          <a:lstStyle/>
          <a:p>
            <a:r>
              <a:rPr lang="en-US" sz="3600" b="1" dirty="0">
                <a:solidFill>
                  <a:srgbClr val="09422E"/>
                </a:solidFill>
                <a:latin typeface="Bembo-AH-Bold"/>
                <a:cs typeface="Bembo-AH-Bold"/>
              </a:rPr>
              <a:t>Digital Campus </a:t>
            </a:r>
            <a:r>
              <a:rPr lang="en-US" sz="36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System</a:t>
            </a:r>
            <a:r>
              <a:rPr lang="hu-HU" sz="36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;</a:t>
            </a:r>
            <a:r>
              <a:rPr lang="en-US" sz="36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 </a:t>
            </a:r>
            <a:r>
              <a:rPr lang="hu-HU" sz="3600" b="1" dirty="0" err="1" smtClean="0">
                <a:solidFill>
                  <a:srgbClr val="FF0000"/>
                </a:solidFill>
                <a:latin typeface="Bembo-AH-Bold"/>
                <a:cs typeface="Bembo-AH-Bold"/>
              </a:rPr>
              <a:t>IoT</a:t>
            </a:r>
            <a:r>
              <a:rPr lang="hu-HU" sz="3600" b="1" dirty="0" smtClean="0">
                <a:solidFill>
                  <a:srgbClr val="FF0000"/>
                </a:solidFill>
                <a:latin typeface="Bembo-AH-Bold"/>
                <a:cs typeface="Bembo-AH-Bold"/>
              </a:rPr>
              <a:t/>
            </a:r>
            <a:br>
              <a:rPr lang="hu-HU" sz="3600" b="1" dirty="0" smtClean="0">
                <a:solidFill>
                  <a:srgbClr val="FF0000"/>
                </a:solidFill>
                <a:latin typeface="Bembo-AH-Bold"/>
                <a:cs typeface="Bembo-AH-Bold"/>
              </a:rPr>
            </a:br>
            <a:endParaRPr lang="en-US" sz="3600" b="1" dirty="0">
              <a:solidFill>
                <a:srgbClr val="FF0000"/>
              </a:solidFill>
              <a:latin typeface="Bembo-AH-Bold"/>
              <a:cs typeface="Bembo-AH-Bold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13426" y="1698937"/>
            <a:ext cx="7735038" cy="3672961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sz="24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This is a platform for students, professors, staff and  campus administration</a:t>
            </a:r>
            <a:r>
              <a:rPr lang="en-US" sz="2400" b="1" dirty="0" smtClean="0">
                <a:solidFill>
                  <a:srgbClr val="FF0000"/>
                </a:solidFill>
                <a:latin typeface="Bembo-AH-Bold"/>
                <a:cs typeface="Bembo-AH-Bold"/>
              </a:rPr>
              <a:t>, </a:t>
            </a:r>
            <a:r>
              <a:rPr lang="hu-HU" sz="2400" b="1" dirty="0" smtClean="0">
                <a:solidFill>
                  <a:srgbClr val="FF0000"/>
                </a:solidFill>
                <a:latin typeface="Bembo-AH-Bold"/>
                <a:cs typeface="Bembo-AH-Bold"/>
              </a:rPr>
              <a:t/>
            </a:r>
            <a:br>
              <a:rPr lang="hu-HU" sz="2400" b="1" dirty="0" smtClean="0">
                <a:solidFill>
                  <a:srgbClr val="FF0000"/>
                </a:solidFill>
                <a:latin typeface="Bembo-AH-Bold"/>
                <a:cs typeface="Bembo-AH-Bold"/>
              </a:rPr>
            </a:br>
            <a:r>
              <a:rPr lang="en-US" sz="2400" b="1" dirty="0" smtClean="0">
                <a:solidFill>
                  <a:srgbClr val="FF0000"/>
                </a:solidFill>
                <a:latin typeface="Bembo-AH-Bold"/>
                <a:cs typeface="Bembo-AH-Bold"/>
              </a:rPr>
              <a:t>to get digitally all kinds of information</a:t>
            </a:r>
            <a:endParaRPr lang="en-US" sz="2400" b="1" dirty="0">
              <a:solidFill>
                <a:srgbClr val="FF0000"/>
              </a:solidFill>
              <a:latin typeface="Helvetica-AH"/>
              <a:cs typeface="Helvetica-AH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1101212" y="1921644"/>
            <a:ext cx="3480040" cy="3811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1101212" y="2151310"/>
            <a:ext cx="3480040" cy="4099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2">
                  <a:lumMod val="75000"/>
                </a:schemeClr>
              </a:solidFill>
              <a:latin typeface="Helvetica-AH"/>
              <a:cs typeface="Helvetica-AH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9" name="Kép 8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2854055"/>
            <a:ext cx="9255299" cy="398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115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73" y="-17467"/>
            <a:ext cx="9138696" cy="6840305"/>
          </a:xfrm>
          <a:prstGeom prst="rect">
            <a:avLst/>
          </a:prstGeom>
        </p:spPr>
      </p:pic>
      <p:sp>
        <p:nvSpPr>
          <p:cNvPr id="34" name="Lekerekített téglalap 33"/>
          <p:cNvSpPr/>
          <p:nvPr/>
        </p:nvSpPr>
        <p:spPr>
          <a:xfrm>
            <a:off x="2341363" y="3529913"/>
            <a:ext cx="1958985" cy="687338"/>
          </a:xfrm>
          <a:prstGeom prst="roundRect">
            <a:avLst/>
          </a:prstGeom>
          <a:solidFill>
            <a:srgbClr val="93CFDD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400" b="1" dirty="0" smtClean="0">
                <a:solidFill>
                  <a:srgbClr val="0033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BUDAPEST </a:t>
            </a:r>
          </a:p>
          <a:p>
            <a:r>
              <a:rPr lang="hu-HU" sz="1400" dirty="0" smtClean="0">
                <a:solidFill>
                  <a:srgbClr val="0033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Ybl Miklós Építéstudományi Kar</a:t>
            </a:r>
            <a:endParaRPr lang="hu-HU" sz="1400" dirty="0">
              <a:solidFill>
                <a:srgbClr val="0033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Lekerekített téglalap 37"/>
          <p:cNvSpPr/>
          <p:nvPr/>
        </p:nvSpPr>
        <p:spPr>
          <a:xfrm>
            <a:off x="4425469" y="4281761"/>
            <a:ext cx="1958985" cy="646550"/>
          </a:xfrm>
          <a:prstGeom prst="roundRect">
            <a:avLst/>
          </a:prstGeom>
          <a:solidFill>
            <a:srgbClr val="93CFDD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sz="1400" b="1" dirty="0" smtClean="0">
                <a:solidFill>
                  <a:srgbClr val="0033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SZARVAS</a:t>
            </a:r>
          </a:p>
          <a:p>
            <a:r>
              <a:rPr lang="hu-HU" sz="1400" dirty="0" smtClean="0">
                <a:solidFill>
                  <a:srgbClr val="0033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Agrár- és Gazdaságtudományi Kar </a:t>
            </a:r>
            <a:endParaRPr lang="hu-HU" sz="1400" dirty="0">
              <a:solidFill>
                <a:srgbClr val="0033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2706801"/>
            <a:ext cx="9113822" cy="4151200"/>
          </a:xfrm>
          <a:prstGeom prst="rect">
            <a:avLst/>
          </a:prstGeom>
        </p:spPr>
      </p:pic>
      <p:sp>
        <p:nvSpPr>
          <p:cNvPr id="41" name="Átellenes sarkain levágott téglalap 40"/>
          <p:cNvSpPr/>
          <p:nvPr/>
        </p:nvSpPr>
        <p:spPr>
          <a:xfrm>
            <a:off x="6023153" y="3409859"/>
            <a:ext cx="1367863" cy="462153"/>
          </a:xfrm>
          <a:prstGeom prst="snip2DiagRect">
            <a:avLst/>
          </a:prstGeom>
          <a:solidFill>
            <a:srgbClr val="93CFDD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hu-HU" sz="14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BEREGSZÁSZ</a:t>
            </a:r>
          </a:p>
        </p:txBody>
      </p:sp>
      <p:sp>
        <p:nvSpPr>
          <p:cNvPr id="42" name="Átellenes sarkain levágott téglalap 41"/>
          <p:cNvSpPr/>
          <p:nvPr/>
        </p:nvSpPr>
        <p:spPr>
          <a:xfrm>
            <a:off x="7690335" y="5539954"/>
            <a:ext cx="1439652" cy="435231"/>
          </a:xfrm>
          <a:prstGeom prst="snip2DiagRect">
            <a:avLst/>
          </a:prstGeom>
          <a:solidFill>
            <a:srgbClr val="93CFDD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hu-HU" sz="14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CSÍKSZEREDA</a:t>
            </a:r>
            <a:endParaRPr lang="hu-HU" sz="1400" b="1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Átellenes sarkain levágott téglalap 42"/>
          <p:cNvSpPr/>
          <p:nvPr/>
        </p:nvSpPr>
        <p:spPr>
          <a:xfrm>
            <a:off x="5222765" y="6306362"/>
            <a:ext cx="793990" cy="393817"/>
          </a:xfrm>
          <a:prstGeom prst="snip2DiagRect">
            <a:avLst/>
          </a:prstGeom>
          <a:solidFill>
            <a:srgbClr val="93CFDD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hu-HU" sz="1400" b="1" dirty="0" smtClean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r"/>
            <a:r>
              <a:rPr lang="hu-HU" sz="14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ZENTA</a:t>
            </a:r>
            <a:endParaRPr lang="hu-HU" sz="1400" dirty="0" smtClean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r"/>
            <a:endParaRPr lang="hu-HU" sz="1400" b="1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7" name="Ellipszis 46"/>
          <p:cNvSpPr/>
          <p:nvPr/>
        </p:nvSpPr>
        <p:spPr>
          <a:xfrm>
            <a:off x="6428802" y="5046033"/>
            <a:ext cx="2303748" cy="540694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35000">
                <a:schemeClr val="accent1">
                  <a:lumMod val="0"/>
                  <a:lumOff val="100000"/>
                </a:schemeClr>
              </a:gs>
              <a:gs pos="100000">
                <a:schemeClr val="accent1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MAROSVÁSÁRHELY</a:t>
            </a:r>
          </a:p>
        </p:txBody>
      </p:sp>
      <p:sp>
        <p:nvSpPr>
          <p:cNvPr id="28" name="Átellenes sarkain levágott téglalap 27"/>
          <p:cNvSpPr/>
          <p:nvPr/>
        </p:nvSpPr>
        <p:spPr>
          <a:xfrm>
            <a:off x="3087955" y="4114642"/>
            <a:ext cx="1072842" cy="447247"/>
          </a:xfrm>
          <a:prstGeom prst="snip2DiagRect">
            <a:avLst/>
          </a:prstGeom>
          <a:solidFill>
            <a:srgbClr val="93CFDD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hu-HU" sz="14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KOMÁROM</a:t>
            </a:r>
            <a:endParaRPr lang="hu-HU" sz="14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3" name="Kép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sp>
        <p:nvSpPr>
          <p:cNvPr id="24" name="Title 1"/>
          <p:cNvSpPr txBox="1">
            <a:spLocks/>
          </p:cNvSpPr>
          <p:nvPr/>
        </p:nvSpPr>
        <p:spPr>
          <a:xfrm>
            <a:off x="128419" y="975008"/>
            <a:ext cx="8856984" cy="1587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sz="36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Szent István University</a:t>
            </a:r>
          </a:p>
          <a:p>
            <a:r>
              <a:rPr lang="hu-HU" sz="36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Multicampus </a:t>
            </a:r>
            <a:br>
              <a:rPr lang="hu-HU" sz="3600" b="1" dirty="0" smtClean="0">
                <a:solidFill>
                  <a:srgbClr val="09422E"/>
                </a:solidFill>
                <a:latin typeface="Bembo-AH-Bold"/>
                <a:cs typeface="Bembo-AH-Bold"/>
              </a:rPr>
            </a:br>
            <a:r>
              <a:rPr lang="en-US" sz="36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Integrated Knowledge Management System</a:t>
            </a:r>
            <a:endParaRPr lang="en-US" sz="3600" b="1" dirty="0">
              <a:solidFill>
                <a:srgbClr val="09422E"/>
              </a:solidFill>
              <a:latin typeface="Bembo-AH-Bold"/>
              <a:cs typeface="Bembo-AH-Bold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1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03414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30" y="0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7784" y="1070528"/>
            <a:ext cx="6245678" cy="1134336"/>
          </a:xfrm>
        </p:spPr>
        <p:txBody>
          <a:bodyPr>
            <a:noAutofit/>
          </a:bodyPr>
          <a:lstStyle/>
          <a:p>
            <a:r>
              <a:rPr lang="hu-HU" sz="3200" b="1" dirty="0" err="1" smtClean="0">
                <a:solidFill>
                  <a:srgbClr val="09422E"/>
                </a:solidFill>
                <a:latin typeface="Bembo-AH-Bold"/>
                <a:cs typeface="Bembo-AH-Bold"/>
              </a:rPr>
              <a:t>Multiple</a:t>
            </a:r>
            <a:r>
              <a:rPr lang="hu-HU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 campus</a:t>
            </a:r>
            <a:br>
              <a:rPr lang="hu-HU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</a:br>
            <a:r>
              <a:rPr lang="en-US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video </a:t>
            </a:r>
            <a:r>
              <a:rPr lang="en-US" sz="3200" b="1" dirty="0">
                <a:solidFill>
                  <a:srgbClr val="09422E"/>
                </a:solidFill>
                <a:latin typeface="Bembo-AH-Bold"/>
                <a:cs typeface="Bembo-AH-Bold"/>
              </a:rPr>
              <a:t>conferencing </a:t>
            </a:r>
            <a:r>
              <a:rPr lang="en-US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system</a:t>
            </a:r>
            <a:endParaRPr lang="hu-HU" sz="3200" b="1" dirty="0">
              <a:solidFill>
                <a:srgbClr val="09422E"/>
              </a:solidFill>
              <a:latin typeface="Bembo-AH-Bold"/>
              <a:cs typeface="Bembo-AH-Bold"/>
            </a:endParaRPr>
          </a:p>
        </p:txBody>
      </p:sp>
      <p:sp>
        <p:nvSpPr>
          <p:cNvPr id="8" name="Téglalap 7"/>
          <p:cNvSpPr/>
          <p:nvPr/>
        </p:nvSpPr>
        <p:spPr>
          <a:xfrm>
            <a:off x="1979713" y="2365174"/>
            <a:ext cx="7132784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600" b="1" dirty="0">
                <a:solidFill>
                  <a:srgbClr val="0070C0"/>
                </a:solidFill>
              </a:rPr>
              <a:t>Modern teaching technology, while retaining personal prese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600" b="1" dirty="0">
                <a:solidFill>
                  <a:srgbClr val="00B050"/>
                </a:solidFill>
              </a:rPr>
              <a:t>We are simultaneously interconnecting four foreign and </a:t>
            </a:r>
            <a:r>
              <a:rPr lang="en-US" sz="2600" b="1" dirty="0" err="1">
                <a:solidFill>
                  <a:srgbClr val="00B050"/>
                </a:solidFill>
              </a:rPr>
              <a:t>Gödöllő</a:t>
            </a:r>
            <a:r>
              <a:rPr lang="en-US" sz="2600" b="1" dirty="0">
                <a:solidFill>
                  <a:srgbClr val="00B050"/>
                </a:solidFill>
              </a:rPr>
              <a:t> and Budapest training si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600" b="1" dirty="0">
                <a:solidFill>
                  <a:srgbClr val="0070C0"/>
                </a:solidFill>
              </a:rPr>
              <a:t>Save money, time and energy (</a:t>
            </a:r>
            <a:r>
              <a:rPr lang="en-US" sz="2600" b="1" dirty="0" err="1">
                <a:solidFill>
                  <a:srgbClr val="0070C0"/>
                </a:solidFill>
              </a:rPr>
              <a:t>eg</a:t>
            </a:r>
            <a:r>
              <a:rPr lang="en-US" sz="2600" b="1" dirty="0">
                <a:solidFill>
                  <a:srgbClr val="0070C0"/>
                </a:solidFill>
              </a:rPr>
              <a:t>: </a:t>
            </a:r>
            <a:r>
              <a:rPr lang="en-US" sz="2600" b="1" dirty="0" err="1">
                <a:solidFill>
                  <a:srgbClr val="0070C0"/>
                </a:solidFill>
              </a:rPr>
              <a:t>Miercurea</a:t>
            </a:r>
            <a:r>
              <a:rPr lang="en-US" sz="2600" b="1" dirty="0">
                <a:solidFill>
                  <a:srgbClr val="0070C0"/>
                </a:solidFill>
              </a:rPr>
              <a:t> </a:t>
            </a:r>
            <a:r>
              <a:rPr lang="en-US" sz="2600" b="1" dirty="0" err="1">
                <a:solidFill>
                  <a:srgbClr val="0070C0"/>
                </a:solidFill>
              </a:rPr>
              <a:t>Ciuc</a:t>
            </a:r>
            <a:r>
              <a:rPr lang="en-US" sz="2600" b="1" dirty="0">
                <a:solidFill>
                  <a:srgbClr val="0070C0"/>
                </a:solidFill>
              </a:rPr>
              <a:t> is 700 km away from </a:t>
            </a:r>
            <a:r>
              <a:rPr lang="en-US" sz="2600" b="1" dirty="0" err="1">
                <a:solidFill>
                  <a:srgbClr val="0070C0"/>
                </a:solidFill>
              </a:rPr>
              <a:t>Gödöllő</a:t>
            </a:r>
            <a:r>
              <a:rPr lang="en-US" sz="2600" b="1" dirty="0">
                <a:solidFill>
                  <a:srgbClr val="0070C0"/>
                </a:solidFill>
              </a:rPr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600" b="1" dirty="0">
                <a:solidFill>
                  <a:srgbClr val="00B050"/>
                </a:solidFill>
              </a:rPr>
              <a:t>Further development opportunit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600" b="1" dirty="0">
                <a:solidFill>
                  <a:srgbClr val="0070C0"/>
                </a:solidFill>
              </a:rPr>
              <a:t>Fields of application: higher education, adult education, professional consultations</a:t>
            </a:r>
            <a:endParaRPr lang="hu-HU" sz="2600" b="1" dirty="0">
              <a:solidFill>
                <a:srgbClr val="0070C0"/>
              </a:solidFill>
            </a:endParaRPr>
          </a:p>
        </p:txBody>
      </p:sp>
      <p:pic>
        <p:nvPicPr>
          <p:cNvPr id="9" name="Kép 8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9" y="1216349"/>
            <a:ext cx="2341801" cy="1535431"/>
          </a:xfrm>
          <a:prstGeom prst="rect">
            <a:avLst/>
          </a:prstGeom>
        </p:spPr>
      </p:pic>
      <p:pic>
        <p:nvPicPr>
          <p:cNvPr id="10" name="Kép 9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14" y="3020759"/>
            <a:ext cx="2336020" cy="1512167"/>
          </a:xfrm>
          <a:prstGeom prst="rect">
            <a:avLst/>
          </a:prstGeom>
        </p:spPr>
      </p:pic>
      <p:pic>
        <p:nvPicPr>
          <p:cNvPr id="11" name="Kép 10"/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39" t="13386" r="14445" b="10315"/>
          <a:stretch/>
        </p:blipFill>
        <p:spPr>
          <a:xfrm>
            <a:off x="28030" y="4860531"/>
            <a:ext cx="2356573" cy="1508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3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2" y="0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47664" y="1022285"/>
            <a:ext cx="7056783" cy="907652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The university of tomorrow</a:t>
            </a:r>
            <a:endParaRPr lang="en-US" sz="3600" b="1" dirty="0">
              <a:solidFill>
                <a:srgbClr val="09422E"/>
              </a:solidFill>
              <a:latin typeface="Bembo-AH-Bold"/>
              <a:cs typeface="Bembo-AH-Bold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43607" y="1896128"/>
            <a:ext cx="7560839" cy="3811636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hu-HU" sz="2400" b="1" dirty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	</a:t>
            </a:r>
            <a:r>
              <a:rPr lang="hu-HU" sz="2400" b="1" dirty="0" smtClean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A</a:t>
            </a: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8" name="Footer Placeholder 6"/>
          <p:cNvSpPr txBox="1">
            <a:spLocks/>
          </p:cNvSpPr>
          <p:nvPr/>
        </p:nvSpPr>
        <p:spPr>
          <a:xfrm>
            <a:off x="1295400" y="6350427"/>
            <a:ext cx="76200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latin typeface="Bembo-AH"/>
                <a:cs typeface="Bembo-AH"/>
              </a:rPr>
              <a:t>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</a:t>
            </a:r>
            <a:endParaRPr kumimoji="0" lang="hu-HU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embo-AH"/>
              <a:ea typeface="+mn-ea"/>
              <a:cs typeface="Bembo-AH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1101212" y="1921644"/>
            <a:ext cx="3480040" cy="3811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1101212" y="2151310"/>
            <a:ext cx="3480040" cy="4099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2">
                  <a:lumMod val="75000"/>
                </a:schemeClr>
              </a:solidFill>
              <a:latin typeface="Helvetica-AH"/>
              <a:cs typeface="Helvetica-AH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6" name="Kép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674" y="1103213"/>
            <a:ext cx="9136534" cy="5754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88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2" y="0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1212" y="1022285"/>
            <a:ext cx="8039054" cy="672751"/>
          </a:xfrm>
        </p:spPr>
        <p:txBody>
          <a:bodyPr>
            <a:normAutofit/>
          </a:bodyPr>
          <a:lstStyle/>
          <a:p>
            <a:r>
              <a:rPr lang="en-US" sz="28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Structure of „Internet of Learning Materials”</a:t>
            </a:r>
            <a:endParaRPr lang="en-US" sz="2800" b="1" dirty="0">
              <a:solidFill>
                <a:srgbClr val="09422E"/>
              </a:solidFill>
              <a:latin typeface="Bembo-AH-Bold"/>
              <a:cs typeface="Bembo-AH-Bold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43607" y="1896128"/>
            <a:ext cx="7560839" cy="3811636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hu-HU" sz="2400" b="1" dirty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	</a:t>
            </a:r>
            <a:r>
              <a:rPr lang="hu-HU" sz="2400" b="1" dirty="0" smtClean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A</a:t>
            </a: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8" name="Footer Placeholder 6"/>
          <p:cNvSpPr txBox="1">
            <a:spLocks/>
          </p:cNvSpPr>
          <p:nvPr/>
        </p:nvSpPr>
        <p:spPr>
          <a:xfrm>
            <a:off x="1295400" y="6350427"/>
            <a:ext cx="76200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latin typeface="Bembo-AH"/>
                <a:cs typeface="Bembo-AH"/>
              </a:rPr>
              <a:t>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</a:t>
            </a:r>
            <a:endParaRPr kumimoji="0" lang="hu-HU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embo-AH"/>
              <a:ea typeface="+mn-ea"/>
              <a:cs typeface="Bembo-AH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1101212" y="1921644"/>
            <a:ext cx="3480040" cy="3811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1101212" y="2151310"/>
            <a:ext cx="3480040" cy="4099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2">
                  <a:lumMod val="75000"/>
                </a:schemeClr>
              </a:solidFill>
              <a:latin typeface="Helvetica-AH"/>
              <a:cs typeface="Helvetica-AH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12" name="Kép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608" y="1599362"/>
            <a:ext cx="9125392" cy="523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751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2" y="0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47664" y="1022285"/>
            <a:ext cx="7056783" cy="907652"/>
          </a:xfrm>
        </p:spPr>
        <p:txBody>
          <a:bodyPr>
            <a:normAutofit/>
          </a:bodyPr>
          <a:lstStyle/>
          <a:p>
            <a:r>
              <a:rPr lang="en-US" sz="3600" b="1" dirty="0" err="1" smtClean="0">
                <a:solidFill>
                  <a:srgbClr val="09422E"/>
                </a:solidFill>
                <a:latin typeface="Bembo-AH-Bold"/>
                <a:cs typeface="Bembo-AH-Bold"/>
              </a:rPr>
              <a:t>SkillToolkit</a:t>
            </a:r>
            <a:r>
              <a:rPr lang="en-US" sz="36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 screen page</a:t>
            </a:r>
            <a:endParaRPr lang="en-US" sz="3600" b="1" dirty="0">
              <a:solidFill>
                <a:srgbClr val="09422E"/>
              </a:solidFill>
              <a:latin typeface="Bembo-AH-Bold"/>
              <a:cs typeface="Bembo-AH-Bold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43607" y="1896128"/>
            <a:ext cx="7560839" cy="3811636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hu-HU" sz="2400" b="1" dirty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	</a:t>
            </a:r>
            <a:r>
              <a:rPr lang="hu-HU" sz="2400" b="1" dirty="0" smtClean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A</a:t>
            </a: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1101212" y="1921644"/>
            <a:ext cx="3480040" cy="3811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1101212" y="2151310"/>
            <a:ext cx="3480040" cy="4099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2">
                  <a:lumMod val="75000"/>
                </a:schemeClr>
              </a:solidFill>
              <a:latin typeface="Helvetica-AH"/>
              <a:cs typeface="Helvetica-AH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12" name="Kép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954" y="1772817"/>
            <a:ext cx="9113045" cy="509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29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2" y="0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43607" y="1022285"/>
            <a:ext cx="8096659" cy="907652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9422E"/>
                </a:solidFill>
                <a:latin typeface="Bembo-AH-Bold"/>
                <a:cs typeface="Bembo-AH-Bold"/>
              </a:rPr>
              <a:t>Effectiveness of learning method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43607" y="1896128"/>
            <a:ext cx="7560839" cy="3811636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r>
              <a:rPr lang="hu-HU" sz="2400" b="1" dirty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	</a:t>
            </a:r>
            <a:r>
              <a:rPr lang="hu-HU" sz="2400" b="1" dirty="0" smtClean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A</a:t>
            </a: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8" name="Footer Placeholder 6"/>
          <p:cNvSpPr txBox="1">
            <a:spLocks/>
          </p:cNvSpPr>
          <p:nvPr/>
        </p:nvSpPr>
        <p:spPr>
          <a:xfrm>
            <a:off x="1295400" y="6350427"/>
            <a:ext cx="76200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latin typeface="Bembo-AH"/>
                <a:cs typeface="Bembo-AH"/>
              </a:rPr>
              <a:t>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</a:t>
            </a:r>
            <a:endParaRPr kumimoji="0" lang="hu-HU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embo-AH"/>
              <a:ea typeface="+mn-ea"/>
              <a:cs typeface="Bembo-AH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1101212" y="1921644"/>
            <a:ext cx="3480040" cy="3811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1101212" y="2151310"/>
            <a:ext cx="3480040" cy="4099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2">
                  <a:lumMod val="75000"/>
                </a:schemeClr>
              </a:solidFill>
              <a:latin typeface="Helvetica-AH"/>
              <a:cs typeface="Helvetica-AH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6" name="Kép 5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01212" y="1762815"/>
            <a:ext cx="7665893" cy="4650898"/>
          </a:xfrm>
          <a:prstGeom prst="rect">
            <a:avLst/>
          </a:prstGeom>
        </p:spPr>
      </p:pic>
      <p:pic>
        <p:nvPicPr>
          <p:cNvPr id="9" name="Kép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34098" y="5686406"/>
            <a:ext cx="1896020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09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73" y="18289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1212" y="850671"/>
            <a:ext cx="7484565" cy="907652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What I’m going to say?</a:t>
            </a:r>
            <a:endParaRPr lang="en-US" sz="3600" b="1" dirty="0">
              <a:solidFill>
                <a:schemeClr val="tx2">
                  <a:lumMod val="60000"/>
                  <a:lumOff val="40000"/>
                </a:schemeClr>
              </a:solidFill>
              <a:latin typeface="Bembo-AH-Bold"/>
              <a:cs typeface="Bembo-AH-Bold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1101212" y="1921644"/>
            <a:ext cx="3480040" cy="3811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974494" y="1819013"/>
            <a:ext cx="7738000" cy="49176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00B050"/>
                </a:solidFill>
                <a:latin typeface="Helvetica-AH"/>
                <a:cs typeface="Helvetica-AH"/>
              </a:rPr>
              <a:t>What are the challenges of </a:t>
            </a:r>
            <a:r>
              <a:rPr lang="en-US" sz="2400" b="1" dirty="0" smtClean="0">
                <a:solidFill>
                  <a:srgbClr val="C00000"/>
                </a:solidFill>
                <a:latin typeface="Helvetica-AH"/>
                <a:cs typeface="Helvetica-AH"/>
              </a:rPr>
              <a:t>the Industry 4.0 and the Farming 4.0 </a:t>
            </a:r>
            <a:r>
              <a:rPr lang="en-US" sz="2400" b="1" dirty="0" smtClean="0">
                <a:solidFill>
                  <a:srgbClr val="00B050"/>
                </a:solidFill>
                <a:latin typeface="Helvetica-AH"/>
                <a:cs typeface="Helvetica-AH"/>
              </a:rPr>
              <a:t>for agricultural higher education?</a:t>
            </a: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chemeClr val="tx2"/>
                </a:solidFill>
                <a:latin typeface="Helvetica-AH"/>
                <a:cs typeface="Helvetica-AH"/>
              </a:rPr>
              <a:t>What are the challenges for universities to teach the </a:t>
            </a:r>
            <a:r>
              <a:rPr lang="en-US" sz="2400" b="1" dirty="0" smtClean="0">
                <a:solidFill>
                  <a:srgbClr val="C00000"/>
                </a:solidFill>
                <a:latin typeface="Helvetica-AH"/>
                <a:cs typeface="Helvetica-AH"/>
              </a:rPr>
              <a:t>Z generation</a:t>
            </a:r>
            <a:r>
              <a:rPr lang="en-US" sz="2400" b="1" dirty="0" smtClean="0">
                <a:solidFill>
                  <a:schemeClr val="tx2"/>
                </a:solidFill>
                <a:latin typeface="Helvetica-AH"/>
                <a:cs typeface="Helvetica-AH"/>
              </a:rPr>
              <a:t>?</a:t>
            </a: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00B050"/>
                </a:solidFill>
                <a:latin typeface="Helvetica-AH"/>
                <a:cs typeface="Helvetica-AH"/>
              </a:rPr>
              <a:t>What does </a:t>
            </a:r>
            <a:r>
              <a:rPr lang="en-US" sz="2400" b="1" dirty="0" smtClean="0">
                <a:solidFill>
                  <a:srgbClr val="C00000"/>
                </a:solidFill>
                <a:latin typeface="Helvetica-AH"/>
                <a:cs typeface="Helvetica-AH"/>
              </a:rPr>
              <a:t>digitization</a:t>
            </a:r>
            <a:r>
              <a:rPr lang="en-US" sz="2400" b="1" dirty="0" smtClean="0">
                <a:solidFill>
                  <a:srgbClr val="00B050"/>
                </a:solidFill>
                <a:latin typeface="Helvetica-AH"/>
                <a:cs typeface="Helvetica-AH"/>
              </a:rPr>
              <a:t> mean in higher education?</a:t>
            </a: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002060"/>
                </a:solidFill>
                <a:latin typeface="Helvetica-AH"/>
                <a:cs typeface="Helvetica-AH"/>
              </a:rPr>
              <a:t>Can </a:t>
            </a:r>
            <a:r>
              <a:rPr lang="en-US" sz="2400" b="1" dirty="0" smtClean="0">
                <a:solidFill>
                  <a:srgbClr val="C00000"/>
                </a:solidFill>
                <a:latin typeface="Helvetica-AH"/>
                <a:cs typeface="Helvetica-AH"/>
              </a:rPr>
              <a:t>non-smart </a:t>
            </a:r>
            <a:r>
              <a:rPr lang="en-US" sz="2400" b="1" dirty="0" smtClean="0">
                <a:solidFill>
                  <a:srgbClr val="002060"/>
                </a:solidFill>
                <a:latin typeface="Helvetica-AH"/>
                <a:cs typeface="Helvetica-AH"/>
              </a:rPr>
              <a:t>universities be able to train professionals for the </a:t>
            </a:r>
            <a:r>
              <a:rPr lang="en-US" sz="2400" b="1" dirty="0" smtClean="0">
                <a:solidFill>
                  <a:srgbClr val="C00000"/>
                </a:solidFill>
                <a:latin typeface="Helvetica-AH"/>
                <a:cs typeface="Helvetica-AH"/>
              </a:rPr>
              <a:t>smart world</a:t>
            </a:r>
            <a:r>
              <a:rPr lang="en-US" sz="2400" b="1" dirty="0" smtClean="0">
                <a:solidFill>
                  <a:srgbClr val="002060"/>
                </a:solidFill>
                <a:latin typeface="Helvetica-AH"/>
                <a:cs typeface="Helvetica-AH"/>
              </a:rPr>
              <a:t>?</a:t>
            </a: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00B050"/>
                </a:solidFill>
                <a:latin typeface="Helvetica-AH"/>
                <a:cs typeface="Helvetica-AH"/>
              </a:rPr>
              <a:t>What does the </a:t>
            </a:r>
            <a:r>
              <a:rPr lang="en-US" sz="2400" b="1" dirty="0" smtClean="0">
                <a:solidFill>
                  <a:srgbClr val="C00000"/>
                </a:solidFill>
                <a:latin typeface="Helvetica-AH"/>
                <a:cs typeface="Helvetica-AH"/>
              </a:rPr>
              <a:t>Internet of Things </a:t>
            </a:r>
            <a:r>
              <a:rPr lang="en-US" sz="2400" b="1" dirty="0" smtClean="0">
                <a:solidFill>
                  <a:srgbClr val="00B050"/>
                </a:solidFill>
                <a:latin typeface="Helvetica-AH"/>
                <a:cs typeface="Helvetica-AH"/>
              </a:rPr>
              <a:t>mean in higher education?</a:t>
            </a: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002060"/>
                </a:solidFill>
                <a:latin typeface="Helvetica-AH"/>
                <a:cs typeface="Helvetica-AH"/>
              </a:rPr>
              <a:t>What the </a:t>
            </a:r>
            <a:r>
              <a:rPr lang="en-US" sz="2400" b="1" dirty="0" err="1" smtClean="0">
                <a:solidFill>
                  <a:srgbClr val="002060"/>
                </a:solidFill>
                <a:latin typeface="Helvetica-AH"/>
                <a:cs typeface="Helvetica-AH"/>
              </a:rPr>
              <a:t>Szent</a:t>
            </a:r>
            <a:r>
              <a:rPr lang="en-US" sz="2400" b="1" dirty="0" smtClean="0">
                <a:solidFill>
                  <a:srgbClr val="002060"/>
                </a:solidFill>
                <a:latin typeface="Helvetica-AH"/>
                <a:cs typeface="Helvetica-AH"/>
              </a:rPr>
              <a:t> </a:t>
            </a:r>
            <a:r>
              <a:rPr lang="en-US" sz="2400" b="1" dirty="0" err="1" smtClean="0">
                <a:solidFill>
                  <a:srgbClr val="002060"/>
                </a:solidFill>
                <a:latin typeface="Helvetica-AH"/>
                <a:cs typeface="Helvetica-AH"/>
              </a:rPr>
              <a:t>István</a:t>
            </a:r>
            <a:r>
              <a:rPr lang="en-US" sz="2400" b="1" dirty="0" smtClean="0">
                <a:solidFill>
                  <a:srgbClr val="002060"/>
                </a:solidFill>
                <a:latin typeface="Helvetica-AH"/>
                <a:cs typeface="Helvetica-AH"/>
              </a:rPr>
              <a:t> University has done so far and what experience it has? </a:t>
            </a: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07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3" descr="SZIE_PPT_alap_rgb.tif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32" y="0"/>
            <a:ext cx="9136534" cy="6839711"/>
          </a:xfrm>
          <a:prstGeom prst="rect">
            <a:avLst/>
          </a:prstGeom>
        </p:spPr>
      </p:pic>
      <p:graphicFrame>
        <p:nvGraphicFramePr>
          <p:cNvPr id="10" name="Objektum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88959254"/>
              </p:ext>
            </p:extLst>
          </p:nvPr>
        </p:nvGraphicFramePr>
        <p:xfrm>
          <a:off x="125413" y="1179333"/>
          <a:ext cx="8894762" cy="5853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Dokumentum" r:id="rId5" imgW="8895117" imgH="5852754" progId="Word.Document.12">
                  <p:embed/>
                </p:oleObj>
              </mc:Choice>
              <mc:Fallback>
                <p:oleObj name="Dokumentum" r:id="rId5" imgW="8895117" imgH="5852754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5413" y="1179333"/>
                        <a:ext cx="8894762" cy="58531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2" name="Kép 3" descr="Forráskép megtekintés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7675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Kép 4" descr="Forráskép megtekintés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000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Kép 6" descr="Forráskép megtekintés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0" t="21852" r="7170" b="19617"/>
          <a:stretch>
            <a:fillRect/>
          </a:stretch>
        </p:blipFill>
        <p:spPr bwMode="auto">
          <a:xfrm>
            <a:off x="0" y="0"/>
            <a:ext cx="523875" cy="49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Kép 2" descr="Képtalálat a következőre: Collaboration Icon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5300" cy="390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Kép 5" descr="Forráskép megtekintés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14350" cy="51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" name="Kép 7" descr="Forráskép megtekintés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28650" cy="62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Forráskép megtekintés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7675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7" name="Picture 11" descr="Forráskép megtekintés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000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Forráskép megtekintés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0" t="21852" r="7170" b="19617"/>
          <a:stretch>
            <a:fillRect/>
          </a:stretch>
        </p:blipFill>
        <p:spPr bwMode="auto">
          <a:xfrm>
            <a:off x="0" y="0"/>
            <a:ext cx="523875" cy="49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5" name="Picture 9" descr="Képtalálat a következőre: Collaboration Icon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5300" cy="390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Forráskép megtekintés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14350" cy="51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Forráskép megtekintés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28650" cy="62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4" name="Picture 18" descr="Forráskép megtekintés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7675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3" name="Picture 17" descr="Forráskép megtekintés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00050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2" name="Picture 16" descr="Forráskép megtekintés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60" t="21852" r="7170" b="19617"/>
          <a:stretch>
            <a:fillRect/>
          </a:stretch>
        </p:blipFill>
        <p:spPr bwMode="auto">
          <a:xfrm>
            <a:off x="0" y="0"/>
            <a:ext cx="523875" cy="495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1" name="Picture 15" descr="Képtalálat a következőre: Collaboration Icon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5300" cy="390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Forráskép megtekintés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14350" cy="51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9" name="Picture 13" descr="Forráskép megtekintés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28650" cy="62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38EB3C-143C-A740-ACDC-C0B174B8B938}" type="slidenum">
              <a:rPr lang="hu-HU" smtClean="0"/>
              <a:pPr/>
              <a:t>2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061717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63" y="-1978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15616" y="960869"/>
            <a:ext cx="7799784" cy="1167643"/>
          </a:xfrm>
        </p:spPr>
        <p:txBody>
          <a:bodyPr>
            <a:normAutofit/>
          </a:bodyPr>
          <a:lstStyle/>
          <a:p>
            <a:pPr algn="l"/>
            <a:endParaRPr lang="hu-HU" dirty="0">
              <a:solidFill>
                <a:srgbClr val="09422E"/>
              </a:solidFill>
              <a:latin typeface="Bembo-AH-Bold"/>
              <a:cs typeface="Bembo-AH-Bold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9497" y="3829217"/>
            <a:ext cx="7998295" cy="1832031"/>
          </a:xfrm>
        </p:spPr>
        <p:txBody>
          <a:bodyPr>
            <a:noAutofit/>
          </a:bodyPr>
          <a:lstStyle/>
          <a:p>
            <a:r>
              <a:rPr lang="en-US" sz="5400" b="1" dirty="0">
                <a:solidFill>
                  <a:schemeClr val="tx1"/>
                </a:solidFill>
              </a:rPr>
              <a:t>Thank you for your attention</a:t>
            </a:r>
            <a:r>
              <a:rPr lang="hu-HU" sz="5400" b="1" dirty="0" smtClean="0">
                <a:solidFill>
                  <a:schemeClr val="tx1"/>
                </a:solidFill>
              </a:rPr>
              <a:t>!</a:t>
            </a:r>
            <a:endParaRPr lang="hu-HU" sz="5400" b="1" dirty="0">
              <a:solidFill>
                <a:schemeClr val="tx1"/>
              </a:solidFill>
            </a:endParaRPr>
          </a:p>
        </p:txBody>
      </p:sp>
      <p:sp>
        <p:nvSpPr>
          <p:cNvPr id="8" name="Footer Placeholder 6"/>
          <p:cNvSpPr txBox="1">
            <a:spLocks/>
          </p:cNvSpPr>
          <p:nvPr/>
        </p:nvSpPr>
        <p:spPr>
          <a:xfrm>
            <a:off x="1267792" y="6368700"/>
            <a:ext cx="7620000" cy="24447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embo-AH"/>
                <a:ea typeface="+mn-ea"/>
                <a:cs typeface="Bembo-AH"/>
              </a:rPr>
              <a:t>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–</a:t>
            </a:r>
            <a:endParaRPr kumimoji="0" lang="hu-H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embo-AH"/>
              <a:ea typeface="+mn-ea"/>
              <a:cs typeface="Bembo-AH"/>
            </a:endParaRPr>
          </a:p>
        </p:txBody>
      </p:sp>
      <p:pic>
        <p:nvPicPr>
          <p:cNvPr id="9" name="Kép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8547" y="1374986"/>
            <a:ext cx="3613922" cy="2321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17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0" y="8847"/>
            <a:ext cx="9132600" cy="6840305"/>
          </a:xfrm>
          <a:prstGeom prst="rect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789222" y="1019073"/>
            <a:ext cx="6109015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The major challenges</a:t>
            </a:r>
            <a:r>
              <a:rPr lang="en-US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/>
            </a:r>
            <a:br>
              <a:rPr lang="en-US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</a:br>
            <a:r>
              <a:rPr lang="en-US" sz="27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Agricultural and food production</a:t>
            </a:r>
            <a:endParaRPr lang="en-US" sz="2700" dirty="0">
              <a:solidFill>
                <a:schemeClr val="accent1"/>
              </a:solidFill>
            </a:endParaRPr>
          </a:p>
        </p:txBody>
      </p:sp>
      <p:sp>
        <p:nvSpPr>
          <p:cNvPr id="39" name="Téglalap 38"/>
          <p:cNvSpPr/>
          <p:nvPr/>
        </p:nvSpPr>
        <p:spPr bwMode="auto">
          <a:xfrm rot="16200000">
            <a:off x="6063622" y="3776781"/>
            <a:ext cx="4605083" cy="15396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66462" rIns="66462" bIns="66462" numCol="1" rtlCol="0" anchor="ctr" anchorCtr="0" compatLnSpc="1">
            <a:prstTxWarp prst="textNoShape">
              <a:avLst/>
            </a:prstTxWarp>
          </a:bodyPr>
          <a:lstStyle/>
          <a:p>
            <a:pPr marL="79133" algn="ctr" defTabSz="896838">
              <a:spcBef>
                <a:spcPts val="554"/>
              </a:spcBef>
              <a:buClr>
                <a:srgbClr val="008CC8"/>
              </a:buClr>
            </a:pPr>
            <a:r>
              <a:rPr lang="en-US" sz="3200" b="1" dirty="0" smtClean="0">
                <a:solidFill>
                  <a:srgbClr val="C00000"/>
                </a:solidFill>
              </a:rPr>
              <a:t>Knowledge </a:t>
            </a:r>
            <a:r>
              <a:rPr lang="en-US" sz="3200" b="1" dirty="0">
                <a:solidFill>
                  <a:srgbClr val="C00000"/>
                </a:solidFill>
              </a:rPr>
              <a:t>and </a:t>
            </a:r>
            <a:r>
              <a:rPr lang="en-US" sz="3200" b="1" dirty="0" smtClean="0">
                <a:solidFill>
                  <a:srgbClr val="C00000"/>
                </a:solidFill>
              </a:rPr>
              <a:t>training methods need to be renewed at universities</a:t>
            </a:r>
            <a:endParaRPr lang="en-US" sz="3200" b="1" dirty="0">
              <a:solidFill>
                <a:srgbClr val="C00000"/>
              </a:solidFill>
            </a:endParaRPr>
          </a:p>
        </p:txBody>
      </p:sp>
      <p:sp>
        <p:nvSpPr>
          <p:cNvPr id="40" name="Téglalap 39"/>
          <p:cNvSpPr/>
          <p:nvPr/>
        </p:nvSpPr>
        <p:spPr bwMode="auto">
          <a:xfrm>
            <a:off x="3430844" y="2209672"/>
            <a:ext cx="3947158" cy="464832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5846" tIns="33231" rIns="33231" bIns="33231" numCol="1" rtlCol="0" anchor="ctr" anchorCtr="0" compatLnSpc="1">
            <a:prstTxWarp prst="textNoShape">
              <a:avLst/>
            </a:prstTxWarp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2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Traditional farming and precision farming </a:t>
            </a:r>
            <a:r>
              <a:rPr lang="en-US" sz="22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in agriculture at the same time (Farming </a:t>
            </a: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</a:rPr>
              <a:t>3.0</a:t>
            </a:r>
            <a:r>
              <a:rPr lang="en-US" sz="22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)</a:t>
            </a:r>
            <a:endParaRPr lang="en-US" sz="2200" b="1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342900" indent="-342900">
              <a:spcBef>
                <a:spcPts val="277"/>
              </a:spcBef>
              <a:buFont typeface="Wingdings" panose="05000000000000000000" pitchFamily="2" charset="2"/>
              <a:buChar char="Ø"/>
            </a:pPr>
            <a:r>
              <a:rPr lang="en-US" sz="2200" b="1" dirty="0">
                <a:solidFill>
                  <a:srgbClr val="C00000"/>
                </a:solidFill>
                <a:latin typeface="arial" panose="020B0604020202020204" pitchFamily="34" charset="0"/>
              </a:rPr>
              <a:t>Robotic agricultural production </a:t>
            </a:r>
            <a:r>
              <a:rPr lang="en-US" sz="2200" b="1" dirty="0">
                <a:solidFill>
                  <a:srgbClr val="00B050"/>
                </a:solidFill>
                <a:latin typeface="arial" panose="020B0604020202020204" pitchFamily="34" charset="0"/>
              </a:rPr>
              <a:t>based on digital network integration </a:t>
            </a:r>
            <a:r>
              <a:rPr lang="en-US" sz="2200" b="1" dirty="0">
                <a:solidFill>
                  <a:srgbClr val="C00000"/>
                </a:solidFill>
                <a:latin typeface="arial" panose="020B0604020202020204" pitchFamily="34" charset="0"/>
              </a:rPr>
              <a:t>has </a:t>
            </a:r>
            <a:r>
              <a:rPr lang="en-US" sz="22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begun </a:t>
            </a:r>
            <a:r>
              <a:rPr lang="en-US" sz="2200" b="1" dirty="0">
                <a:solidFill>
                  <a:srgbClr val="00B050"/>
                </a:solidFill>
                <a:latin typeface="arial" panose="020B0604020202020204" pitchFamily="34" charset="0"/>
              </a:rPr>
              <a:t>(Farming 4.0)</a:t>
            </a:r>
          </a:p>
          <a:p>
            <a:pPr marL="342900" indent="-342900">
              <a:spcBef>
                <a:spcPts val="277"/>
              </a:spcBef>
              <a:buFont typeface="Wingdings" panose="05000000000000000000" pitchFamily="2" charset="2"/>
              <a:buChar char="Ø"/>
            </a:pP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</a:rPr>
              <a:t>The use of </a:t>
            </a:r>
            <a:r>
              <a:rPr lang="en-US" sz="2200" b="1" dirty="0">
                <a:solidFill>
                  <a:srgbClr val="C00000"/>
                </a:solidFill>
                <a:latin typeface="arial" panose="020B0604020202020204" pitchFamily="34" charset="0"/>
              </a:rPr>
              <a:t>artificial intelligence </a:t>
            </a: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</a:rPr>
              <a:t>is under experimental </a:t>
            </a:r>
            <a:r>
              <a:rPr lang="en-US" sz="22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stage </a:t>
            </a:r>
            <a:r>
              <a:rPr lang="hu-HU" sz="22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/>
            </a:r>
            <a:br>
              <a:rPr lang="hu-HU" sz="2200" b="1" dirty="0" smtClean="0">
                <a:solidFill>
                  <a:schemeClr val="tx2"/>
                </a:solidFill>
                <a:latin typeface="arial" panose="020B0604020202020204" pitchFamily="34" charset="0"/>
              </a:rPr>
            </a:br>
            <a:r>
              <a:rPr lang="en-US" sz="22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(</a:t>
            </a:r>
            <a:r>
              <a:rPr lang="en-US" sz="2200" b="1" dirty="0">
                <a:solidFill>
                  <a:schemeClr val="tx2"/>
                </a:solidFill>
                <a:latin typeface="arial" panose="020B0604020202020204" pitchFamily="34" charset="0"/>
              </a:rPr>
              <a:t>Farming 5.0</a:t>
            </a:r>
            <a:r>
              <a:rPr lang="en-US" sz="22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)</a:t>
            </a:r>
            <a:endParaRPr lang="en-US" sz="22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41" name="Ötszög 40"/>
          <p:cNvSpPr/>
          <p:nvPr/>
        </p:nvSpPr>
        <p:spPr bwMode="auto">
          <a:xfrm>
            <a:off x="16673" y="2633731"/>
            <a:ext cx="3414171" cy="2633399"/>
          </a:xfrm>
          <a:prstGeom prst="homePlate">
            <a:avLst>
              <a:gd name="adj" fmla="val 17796"/>
            </a:avLst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33231" rIns="33231" bIns="33231" numCol="1" rtlCol="0" anchor="ctr" anchorCtr="0" compatLnSpc="1">
            <a:prstTxWarp prst="textNoShape">
              <a:avLst/>
            </a:prstTxWarp>
          </a:bodyPr>
          <a:lstStyle/>
          <a:p>
            <a:pPr marL="79133" defTabSz="896838">
              <a:spcBef>
                <a:spcPts val="554"/>
              </a:spcBef>
              <a:buClr>
                <a:srgbClr val="008CC8"/>
              </a:buClr>
            </a:pPr>
            <a:r>
              <a:rPr lang="en-US" sz="2400" b="1" dirty="0" smtClean="0">
                <a:solidFill>
                  <a:schemeClr val="bg1"/>
                </a:solidFill>
              </a:rPr>
              <a:t>The amount of  new knowledge  </a:t>
            </a:r>
            <a:r>
              <a:rPr lang="en-US" sz="2400" b="1" dirty="0" smtClean="0">
                <a:solidFill>
                  <a:srgbClr val="C00000"/>
                </a:solidFill>
              </a:rPr>
              <a:t>exponentially increases  </a:t>
            </a:r>
            <a:br>
              <a:rPr lang="en-US" sz="2400" b="1" dirty="0" smtClean="0">
                <a:solidFill>
                  <a:srgbClr val="C00000"/>
                </a:solidFill>
              </a:rPr>
            </a:br>
            <a:r>
              <a:rPr lang="en-US" sz="2400" b="1" dirty="0" smtClean="0">
                <a:solidFill>
                  <a:schemeClr val="bg1"/>
                </a:solidFill>
              </a:rPr>
              <a:t>The teaching and learning time at  universities is  </a:t>
            </a:r>
            <a:br>
              <a:rPr lang="en-US" sz="2400" b="1" dirty="0" smtClean="0">
                <a:solidFill>
                  <a:schemeClr val="bg1"/>
                </a:solidFill>
              </a:rPr>
            </a:br>
            <a:r>
              <a:rPr lang="en-US" sz="2400" b="1" dirty="0" smtClean="0">
                <a:solidFill>
                  <a:srgbClr val="C00000"/>
                </a:solidFill>
              </a:rPr>
              <a:t>not increasing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50" name="Háromszög 49"/>
          <p:cNvSpPr/>
          <p:nvPr/>
        </p:nvSpPr>
        <p:spPr bwMode="auto">
          <a:xfrm rot="5400000">
            <a:off x="5160762" y="4486386"/>
            <a:ext cx="4655124" cy="216024"/>
          </a:xfrm>
          <a:prstGeom prst="triangle">
            <a:avLst/>
          </a:prstGeom>
          <a:solidFill>
            <a:schemeClr val="bg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6462" tIns="66462" rIns="66462" bIns="664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en-US" sz="1662" dirty="0">
              <a:latin typeface="Arial" charset="0"/>
            </a:endParaRPr>
          </a:p>
        </p:txBody>
      </p:sp>
      <p:pic>
        <p:nvPicPr>
          <p:cNvPr id="20" name="Kép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5" name="Kép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00" y="5267131"/>
            <a:ext cx="2804418" cy="1590869"/>
          </a:xfrm>
          <a:prstGeom prst="rect">
            <a:avLst/>
          </a:prstGeom>
        </p:spPr>
      </p:pic>
      <p:pic>
        <p:nvPicPr>
          <p:cNvPr id="6" name="Kép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569" y="1073857"/>
            <a:ext cx="2772549" cy="1559874"/>
          </a:xfrm>
          <a:prstGeom prst="rect">
            <a:avLst/>
          </a:prstGeom>
        </p:spPr>
      </p:pic>
      <p:sp>
        <p:nvSpPr>
          <p:cNvPr id="3" name="Dia számának helye 2"/>
          <p:cNvSpPr>
            <a:spLocks noGrp="1"/>
          </p:cNvSpPr>
          <p:nvPr>
            <p:ph type="sldNum" sz="quarter" idx="11"/>
          </p:nvPr>
        </p:nvSpPr>
        <p:spPr>
          <a:xfrm>
            <a:off x="6529537" y="6406253"/>
            <a:ext cx="2133600" cy="365125"/>
          </a:xfrm>
        </p:spPr>
        <p:txBody>
          <a:bodyPr/>
          <a:lstStyle/>
          <a:p>
            <a:pPr>
              <a:defRPr/>
            </a:pPr>
            <a:fld id="{916336A2-5EB4-4EC1-953B-D9D538DF092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588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ép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2" y="1"/>
            <a:ext cx="9132600" cy="6840305"/>
          </a:xfrm>
          <a:prstGeom prst="rect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551030" y="1009250"/>
            <a:ext cx="6574681" cy="907583"/>
          </a:xfrm>
        </p:spPr>
        <p:txBody>
          <a:bodyPr>
            <a:normAutofit/>
          </a:bodyPr>
          <a:lstStyle/>
          <a:p>
            <a:r>
              <a:rPr lang="en-US" sz="4000" b="1" dirty="0" smtClean="0">
                <a:solidFill>
                  <a:schemeClr val="accent5">
                    <a:lumMod val="50000"/>
                  </a:schemeClr>
                </a:solidFill>
                <a:latin typeface="Helvetica-AH"/>
                <a:cs typeface="Helvetica-AH"/>
              </a:rPr>
              <a:t>Traditional university</a:t>
            </a:r>
            <a:endParaRPr lang="en-US" sz="4000" dirty="0">
              <a:solidFill>
                <a:schemeClr val="accent1"/>
              </a:solidFill>
            </a:endParaRPr>
          </a:p>
        </p:txBody>
      </p:sp>
      <p:sp>
        <p:nvSpPr>
          <p:cNvPr id="39" name="Téglalap 38"/>
          <p:cNvSpPr/>
          <p:nvPr/>
        </p:nvSpPr>
        <p:spPr bwMode="auto">
          <a:xfrm rot="16200000">
            <a:off x="6260962" y="3944111"/>
            <a:ext cx="4654442" cy="11195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66462" rIns="66462" bIns="66462" numCol="1" rtlCol="0" anchor="ctr" anchorCtr="0" compatLnSpc="1">
            <a:prstTxWarp prst="textNoShape">
              <a:avLst/>
            </a:prstTxWarp>
          </a:bodyPr>
          <a:lstStyle/>
          <a:p>
            <a:pPr marL="79133" algn="ctr" defTabSz="896838">
              <a:spcBef>
                <a:spcPts val="554"/>
              </a:spcBef>
              <a:buClr>
                <a:srgbClr val="008CC8"/>
              </a:buClr>
            </a:pPr>
            <a:r>
              <a:rPr lang="hu-HU" sz="3200" b="1" dirty="0" smtClean="0">
                <a:solidFill>
                  <a:srgbClr val="C00000"/>
                </a:solidFill>
              </a:rPr>
              <a:t>M</a:t>
            </a:r>
            <a:r>
              <a:rPr lang="en-US" sz="3200" b="1" dirty="0" smtClean="0">
                <a:solidFill>
                  <a:srgbClr val="C00000"/>
                </a:solidFill>
              </a:rPr>
              <a:t>ore effective university </a:t>
            </a:r>
            <a:r>
              <a:rPr lang="hu-HU" sz="3200" b="1" dirty="0" err="1" smtClean="0">
                <a:solidFill>
                  <a:srgbClr val="C00000"/>
                </a:solidFill>
              </a:rPr>
              <a:t>operation</a:t>
            </a:r>
            <a:r>
              <a:rPr lang="hu-HU" sz="3200" b="1" dirty="0" smtClean="0">
                <a:solidFill>
                  <a:srgbClr val="C00000"/>
                </a:solidFill>
              </a:rPr>
              <a:t> </a:t>
            </a:r>
            <a:r>
              <a:rPr lang="en-US" sz="3200" b="1" dirty="0" smtClean="0">
                <a:solidFill>
                  <a:srgbClr val="C00000"/>
                </a:solidFill>
              </a:rPr>
              <a:t>is needed</a:t>
            </a:r>
            <a:endParaRPr lang="en-US" sz="3200" b="1" dirty="0">
              <a:solidFill>
                <a:srgbClr val="C00000"/>
              </a:solidFill>
            </a:endParaRPr>
          </a:p>
        </p:txBody>
      </p:sp>
      <p:sp>
        <p:nvSpPr>
          <p:cNvPr id="44" name="Téglalap 43"/>
          <p:cNvSpPr/>
          <p:nvPr/>
        </p:nvSpPr>
        <p:spPr bwMode="auto">
          <a:xfrm>
            <a:off x="2771800" y="1916833"/>
            <a:ext cx="4988830" cy="49610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5846" tIns="33231" rIns="33231" bIns="33231" numCol="1" rtlCol="0" anchor="ctr" anchorCtr="0" compatLnSpc="1">
            <a:prstTxWarp prst="textNoShape">
              <a:avLst/>
            </a:prstTxWarp>
          </a:bodyPr>
          <a:lstStyle/>
          <a:p>
            <a:pPr marL="342900" indent="-342900">
              <a:spcBef>
                <a:spcPts val="277"/>
              </a:spcBef>
              <a:buFont typeface="Wingdings" panose="05000000000000000000" pitchFamily="2" charset="2"/>
              <a:buChar char="Ø"/>
            </a:pPr>
            <a:r>
              <a:rPr lang="en-US" sz="2800" b="1" dirty="0">
                <a:solidFill>
                  <a:srgbClr val="0070C0"/>
                </a:solidFill>
              </a:rPr>
              <a:t>Traditional university training is slowly responding to </a:t>
            </a:r>
            <a:r>
              <a:rPr lang="en-US" sz="2800" b="1" dirty="0" smtClean="0">
                <a:solidFill>
                  <a:srgbClr val="0070C0"/>
                </a:solidFill>
              </a:rPr>
              <a:t>changes</a:t>
            </a:r>
            <a:endParaRPr lang="en-US" sz="2800" b="1" dirty="0">
              <a:solidFill>
                <a:srgbClr val="0070C0"/>
              </a:solidFill>
            </a:endParaRPr>
          </a:p>
          <a:p>
            <a:pPr marL="342900" indent="-342900">
              <a:spcBef>
                <a:spcPts val="277"/>
              </a:spcBef>
              <a:buFont typeface="Wingdings" panose="05000000000000000000" pitchFamily="2" charset="2"/>
              <a:buChar char="Ø"/>
            </a:pPr>
            <a:r>
              <a:rPr lang="en-US" sz="2800" b="1" dirty="0">
                <a:solidFill>
                  <a:srgbClr val="00B050"/>
                </a:solidFill>
              </a:rPr>
              <a:t>If we change the curriculum, </a:t>
            </a:r>
            <a:r>
              <a:rPr lang="en-US" sz="2800" b="1" dirty="0">
                <a:solidFill>
                  <a:srgbClr val="C00000"/>
                </a:solidFill>
              </a:rPr>
              <a:t>the result will be displayed in 3-5 </a:t>
            </a:r>
            <a:r>
              <a:rPr lang="en-US" sz="2800" b="1" dirty="0" smtClean="0">
                <a:solidFill>
                  <a:srgbClr val="C00000"/>
                </a:solidFill>
              </a:rPr>
              <a:t>years</a:t>
            </a:r>
            <a:endParaRPr lang="en-US" sz="2800" b="1" dirty="0">
              <a:solidFill>
                <a:srgbClr val="C00000"/>
              </a:solidFill>
            </a:endParaRPr>
          </a:p>
          <a:p>
            <a:pPr marL="342900" indent="-342900">
              <a:spcBef>
                <a:spcPts val="277"/>
              </a:spcBef>
              <a:buFont typeface="Wingdings" panose="05000000000000000000" pitchFamily="2" charset="2"/>
              <a:buChar char="Ø"/>
            </a:pPr>
            <a:r>
              <a:rPr lang="en-US" sz="2800" b="1" dirty="0">
                <a:solidFill>
                  <a:srgbClr val="0070C0"/>
                </a:solidFill>
              </a:rPr>
              <a:t>Nowadays, </a:t>
            </a:r>
            <a:r>
              <a:rPr lang="en-US" sz="2800" b="1" dirty="0">
                <a:solidFill>
                  <a:srgbClr val="C00000"/>
                </a:solidFill>
              </a:rPr>
              <a:t>over a period of </a:t>
            </a:r>
            <a:r>
              <a:rPr lang="hu-HU" sz="2800" b="1" dirty="0">
                <a:solidFill>
                  <a:srgbClr val="C00000"/>
                </a:solidFill>
              </a:rPr>
              <a:t> </a:t>
            </a:r>
            <a:r>
              <a:rPr lang="hu-HU" sz="2800" b="1" dirty="0" smtClean="0">
                <a:solidFill>
                  <a:srgbClr val="C00000"/>
                </a:solidFill>
              </a:rPr>
              <a:t/>
            </a:r>
            <a:br>
              <a:rPr lang="hu-HU" sz="2800" b="1" dirty="0" smtClean="0">
                <a:solidFill>
                  <a:srgbClr val="C00000"/>
                </a:solidFill>
              </a:rPr>
            </a:br>
            <a:r>
              <a:rPr lang="hu-HU" sz="2800" b="1" dirty="0" smtClean="0">
                <a:solidFill>
                  <a:srgbClr val="C00000"/>
                </a:solidFill>
              </a:rPr>
              <a:t>5</a:t>
            </a:r>
            <a:r>
              <a:rPr lang="en-US" sz="2800" b="1" dirty="0" smtClean="0">
                <a:solidFill>
                  <a:srgbClr val="C00000"/>
                </a:solidFill>
              </a:rPr>
              <a:t> </a:t>
            </a:r>
            <a:r>
              <a:rPr lang="en-US" sz="2800" b="1" dirty="0">
                <a:solidFill>
                  <a:srgbClr val="C00000"/>
                </a:solidFill>
              </a:rPr>
              <a:t>years</a:t>
            </a:r>
            <a:r>
              <a:rPr lang="en-US" sz="2800" b="1" dirty="0">
                <a:solidFill>
                  <a:srgbClr val="0070C0"/>
                </a:solidFill>
              </a:rPr>
              <a:t>, some of the </a:t>
            </a:r>
            <a:r>
              <a:rPr lang="en-US" sz="2800" b="1" dirty="0">
                <a:solidFill>
                  <a:srgbClr val="C00000"/>
                </a:solidFill>
              </a:rPr>
              <a:t>knowledge is </a:t>
            </a:r>
            <a:r>
              <a:rPr lang="en-US" sz="2800" b="1" dirty="0" smtClean="0">
                <a:solidFill>
                  <a:srgbClr val="C00000"/>
                </a:solidFill>
              </a:rPr>
              <a:t>obsolete</a:t>
            </a:r>
            <a:endParaRPr lang="en-US" sz="2800" b="1" dirty="0">
              <a:solidFill>
                <a:srgbClr val="C00000"/>
              </a:solidFill>
            </a:endParaRPr>
          </a:p>
          <a:p>
            <a:pPr marL="342900" indent="-342900">
              <a:spcBef>
                <a:spcPts val="277"/>
              </a:spcBef>
              <a:buFont typeface="Wingdings" panose="05000000000000000000" pitchFamily="2" charset="2"/>
              <a:buChar char="Ø"/>
            </a:pPr>
            <a:r>
              <a:rPr lang="en-US" sz="2800" b="1" dirty="0">
                <a:solidFill>
                  <a:srgbClr val="00B050"/>
                </a:solidFill>
              </a:rPr>
              <a:t>This contradiction must be resolved. </a:t>
            </a:r>
            <a:r>
              <a:rPr lang="en-US" sz="2800" b="1" dirty="0">
                <a:solidFill>
                  <a:srgbClr val="C00000"/>
                </a:solidFill>
              </a:rPr>
              <a:t>But how?</a:t>
            </a:r>
          </a:p>
        </p:txBody>
      </p:sp>
      <p:sp>
        <p:nvSpPr>
          <p:cNvPr id="45" name="Ötszög 44"/>
          <p:cNvSpPr/>
          <p:nvPr/>
        </p:nvSpPr>
        <p:spPr bwMode="auto">
          <a:xfrm>
            <a:off x="16673" y="2730352"/>
            <a:ext cx="2971151" cy="2567780"/>
          </a:xfrm>
          <a:prstGeom prst="homePlate">
            <a:avLst>
              <a:gd name="adj" fmla="val 17796"/>
            </a:avLst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33231" rIns="33231" bIns="33231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2400" b="1" dirty="0">
                <a:solidFill>
                  <a:schemeClr val="bg1"/>
                </a:solidFill>
              </a:rPr>
              <a:t>Why do we talk about a gap between social or agricultural needs and university education?</a:t>
            </a:r>
          </a:p>
        </p:txBody>
      </p:sp>
      <p:sp>
        <p:nvSpPr>
          <p:cNvPr id="50" name="Háromszög 49"/>
          <p:cNvSpPr/>
          <p:nvPr/>
        </p:nvSpPr>
        <p:spPr bwMode="auto">
          <a:xfrm rot="5400000">
            <a:off x="5814887" y="4476414"/>
            <a:ext cx="4203395" cy="286727"/>
          </a:xfrm>
          <a:prstGeom prst="triangle">
            <a:avLst/>
          </a:prstGeom>
          <a:solidFill>
            <a:schemeClr val="bg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6462" tIns="66462" rIns="66462" bIns="664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en-US" sz="1662" dirty="0">
              <a:latin typeface="Arial" charset="0"/>
            </a:endParaRPr>
          </a:p>
        </p:txBody>
      </p:sp>
      <p:pic>
        <p:nvPicPr>
          <p:cNvPr id="20" name="Kép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6" name="Kép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672" y="5157193"/>
            <a:ext cx="2517199" cy="1673938"/>
          </a:xfrm>
          <a:prstGeom prst="rect">
            <a:avLst/>
          </a:prstGeom>
        </p:spPr>
      </p:pic>
      <p:pic>
        <p:nvPicPr>
          <p:cNvPr id="7" name="Kép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3975" y="1060705"/>
            <a:ext cx="2545329" cy="1692644"/>
          </a:xfrm>
          <a:prstGeom prst="rect">
            <a:avLst/>
          </a:prstGeom>
        </p:spPr>
      </p:pic>
      <p:sp>
        <p:nvSpPr>
          <p:cNvPr id="3" name="Dia számának hely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936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66" y="18289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515" y="959465"/>
            <a:ext cx="7776863" cy="654067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solidFill>
                  <a:srgbClr val="09422E"/>
                </a:solidFill>
                <a:latin typeface="Bembo-AH-Bold"/>
                <a:cs typeface="Bembo-AH-Bold"/>
              </a:rPr>
              <a:t>Adapting to new digital technologi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43607" y="1959508"/>
            <a:ext cx="7560839" cy="4273016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1101212" y="1921644"/>
            <a:ext cx="3480040" cy="3811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5">
                  <a:lumMod val="50000"/>
                </a:schemeClr>
              </a:solidFill>
              <a:latin typeface="Helvetica-AH"/>
              <a:cs typeface="Helvetica-AH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1101212" y="2151310"/>
            <a:ext cx="3480040" cy="4099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0"/>
              </a:spcBef>
            </a:pPr>
            <a:endParaRPr lang="hu-HU" sz="2400" b="1" dirty="0">
              <a:solidFill>
                <a:schemeClr val="accent2">
                  <a:lumMod val="75000"/>
                </a:schemeClr>
              </a:solidFill>
              <a:latin typeface="Helvetica-AH"/>
              <a:cs typeface="Helvetica-AH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7" name="Kép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607" y="1631821"/>
            <a:ext cx="7560839" cy="5109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44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01" y="5858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57118" y="960870"/>
            <a:ext cx="6843805" cy="1137601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09422E"/>
                </a:solidFill>
                <a:latin typeface="Bembo-AH-Bold"/>
                <a:cs typeface="Bembo-AH-Bold"/>
              </a:rPr>
              <a:t>Lack of specialist </a:t>
            </a:r>
            <a:r>
              <a:rPr lang="hu-HU" b="1" dirty="0" smtClean="0">
                <a:solidFill>
                  <a:srgbClr val="09422E"/>
                </a:solidFill>
                <a:latin typeface="Bembo-AH-Bold"/>
                <a:cs typeface="Bembo-AH-Bold"/>
              </a:rPr>
              <a:t/>
            </a:r>
            <a:br>
              <a:rPr lang="hu-HU" b="1" dirty="0" smtClean="0">
                <a:solidFill>
                  <a:srgbClr val="09422E"/>
                </a:solidFill>
                <a:latin typeface="Bembo-AH-Bold"/>
                <a:cs typeface="Bembo-AH-Bold"/>
              </a:rPr>
            </a:br>
            <a:r>
              <a:rPr lang="en-US" sz="31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in </a:t>
            </a:r>
            <a:r>
              <a:rPr lang="en-US" sz="3100" b="1" dirty="0">
                <a:solidFill>
                  <a:srgbClr val="09422E"/>
                </a:solidFill>
                <a:latin typeface="Bembo-AH-Bold"/>
                <a:cs typeface="Bembo-AH-Bold"/>
              </a:rPr>
              <a:t>higher education and agricul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8580" y="2226860"/>
            <a:ext cx="6912343" cy="4442499"/>
          </a:xfrm>
        </p:spPr>
        <p:txBody>
          <a:bodyPr>
            <a:noAutofit/>
          </a:bodyPr>
          <a:lstStyle/>
          <a:p>
            <a:pPr marL="252000" indent="-252000" algn="l"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  <a:latin typeface="Helvetica-AH"/>
                <a:cs typeface="Helvetica-AH"/>
              </a:rPr>
              <a:t>Lack of good agricultural IT professionals</a:t>
            </a:r>
          </a:p>
          <a:p>
            <a:pPr marL="252000" indent="-252000" algn="l"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chemeClr val="tx1"/>
                </a:solidFill>
                <a:latin typeface="Helvetica-AH"/>
                <a:cs typeface="Helvetica-AH"/>
              </a:rPr>
              <a:t>Hay Group (International Survey </a:t>
            </a:r>
            <a:br>
              <a:rPr lang="en-US" sz="2400" b="1" dirty="0" smtClean="0">
                <a:solidFill>
                  <a:schemeClr val="tx1"/>
                </a:solidFill>
                <a:latin typeface="Helvetica-AH"/>
                <a:cs typeface="Helvetica-AH"/>
              </a:rPr>
            </a:br>
            <a:r>
              <a:rPr lang="en-US" sz="2400" b="1" dirty="0" smtClean="0">
                <a:solidFill>
                  <a:schemeClr val="tx1"/>
                </a:solidFill>
                <a:latin typeface="Helvetica-AH"/>
                <a:cs typeface="Helvetica-AH"/>
              </a:rPr>
              <a:t>Industry 4.0)</a:t>
            </a:r>
          </a:p>
          <a:p>
            <a:pPr marL="252000" indent="-252000" algn="l"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00B050"/>
                </a:solidFill>
                <a:latin typeface="Helvetica-AH"/>
                <a:cs typeface="Helvetica-AH"/>
              </a:rPr>
              <a:t>By 2011, the main problem was the lack of engineers</a:t>
            </a:r>
          </a:p>
          <a:p>
            <a:pPr marL="252000" indent="-252000" algn="l"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chemeClr val="tx1"/>
                </a:solidFill>
                <a:latin typeface="Helvetica-AH"/>
                <a:cs typeface="Helvetica-AH"/>
              </a:rPr>
              <a:t>After 2011 the main problem was the </a:t>
            </a:r>
            <a:r>
              <a:rPr lang="en-US" sz="2400" b="1" dirty="0" smtClean="0">
                <a:solidFill>
                  <a:srgbClr val="C00000"/>
                </a:solidFill>
                <a:latin typeface="Helvetica-AH"/>
                <a:cs typeface="Helvetica-AH"/>
              </a:rPr>
              <a:t>lack of relevant knowledge engineers </a:t>
            </a:r>
          </a:p>
          <a:p>
            <a:pPr marL="252000" indent="-252000" algn="l"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00B050"/>
                </a:solidFill>
                <a:latin typeface="Helvetica-AH"/>
                <a:cs typeface="Helvetica-AH"/>
              </a:rPr>
              <a:t>96% of chief academic officers and 44% of students believe new graduates have the requisite digital skills for the workforce, </a:t>
            </a:r>
          </a:p>
          <a:p>
            <a:pPr marL="252000" indent="-252000" algn="l"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C00000"/>
                </a:solidFill>
                <a:latin typeface="Helvetica-AH"/>
                <a:cs typeface="Helvetica-AH"/>
              </a:rPr>
              <a:t>only 11% of business leaders agree</a:t>
            </a:r>
            <a:endParaRPr lang="en-US" sz="2400" b="1" dirty="0">
              <a:solidFill>
                <a:srgbClr val="C00000"/>
              </a:solidFill>
              <a:latin typeface="Helvetica-AH"/>
              <a:cs typeface="Helvetica-AH"/>
            </a:endParaRPr>
          </a:p>
        </p:txBody>
      </p:sp>
      <p:pic>
        <p:nvPicPr>
          <p:cNvPr id="11" name="Kép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33500"/>
            <a:ext cx="2171440" cy="1085720"/>
          </a:xfrm>
          <a:prstGeom prst="rect">
            <a:avLst/>
          </a:prstGeom>
        </p:spPr>
      </p:pic>
      <p:pic>
        <p:nvPicPr>
          <p:cNvPr id="12" name="Kép 1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379"/>
          <a:stretch/>
        </p:blipFill>
        <p:spPr>
          <a:xfrm>
            <a:off x="19026" y="2223040"/>
            <a:ext cx="2171440" cy="1364370"/>
          </a:xfrm>
          <a:prstGeom prst="rect">
            <a:avLst/>
          </a:prstGeom>
        </p:spPr>
      </p:pic>
      <p:pic>
        <p:nvPicPr>
          <p:cNvPr id="13" name="Kép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26" y="3586809"/>
            <a:ext cx="2140954" cy="1607394"/>
          </a:xfrm>
          <a:prstGeom prst="rect">
            <a:avLst/>
          </a:prstGeom>
        </p:spPr>
      </p:pic>
      <p:pic>
        <p:nvPicPr>
          <p:cNvPr id="14" name="Kép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27" y="5177605"/>
            <a:ext cx="2213829" cy="1662106"/>
          </a:xfrm>
          <a:prstGeom prst="rect">
            <a:avLst/>
          </a:prstGeom>
        </p:spPr>
      </p:pic>
      <p:pic>
        <p:nvPicPr>
          <p:cNvPr id="15" name="Kép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052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ép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2" y="1"/>
            <a:ext cx="9132600" cy="6840305"/>
          </a:xfrm>
          <a:prstGeom prst="rect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187624" y="1060149"/>
            <a:ext cx="7938088" cy="691557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Z</a:t>
            </a:r>
            <a:r>
              <a:rPr lang="hu-HU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 </a:t>
            </a:r>
            <a:r>
              <a:rPr lang="en-US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generation, </a:t>
            </a:r>
            <a:r>
              <a:rPr lang="hu-HU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„</a:t>
            </a:r>
            <a:r>
              <a:rPr lang="en-US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digital natives</a:t>
            </a:r>
            <a:r>
              <a:rPr lang="hu-HU" sz="3200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”</a:t>
            </a:r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39" name="Téglalap 38"/>
          <p:cNvSpPr/>
          <p:nvPr/>
        </p:nvSpPr>
        <p:spPr bwMode="auto">
          <a:xfrm rot="16200000">
            <a:off x="6228651" y="3930657"/>
            <a:ext cx="4637376" cy="11819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66462" rIns="66462" bIns="66462" numCol="1" rtlCol="0" anchor="ctr" anchorCtr="0" compatLnSpc="1">
            <a:prstTxWarp prst="textNoShape">
              <a:avLst/>
            </a:prstTxWarp>
          </a:bodyPr>
          <a:lstStyle/>
          <a:p>
            <a:pPr marL="79133" algn="ctr" defTabSz="896838">
              <a:spcBef>
                <a:spcPts val="554"/>
              </a:spcBef>
              <a:buClr>
                <a:srgbClr val="008CC8"/>
              </a:buClr>
            </a:pPr>
            <a:r>
              <a:rPr lang="en-US" sz="3200" b="1" dirty="0" smtClean="0">
                <a:solidFill>
                  <a:srgbClr val="C00000"/>
                </a:solidFill>
              </a:rPr>
              <a:t>The training methods </a:t>
            </a:r>
            <a:r>
              <a:rPr lang="hu-HU" sz="3200" b="1" dirty="0" smtClean="0">
                <a:solidFill>
                  <a:srgbClr val="C00000"/>
                </a:solidFill>
              </a:rPr>
              <a:t/>
            </a:r>
            <a:br>
              <a:rPr lang="hu-HU" sz="3200" b="1" dirty="0" smtClean="0">
                <a:solidFill>
                  <a:srgbClr val="C00000"/>
                </a:solidFill>
              </a:rPr>
            </a:br>
            <a:r>
              <a:rPr lang="en-US" sz="3200" b="1" dirty="0" smtClean="0">
                <a:solidFill>
                  <a:srgbClr val="C00000"/>
                </a:solidFill>
              </a:rPr>
              <a:t>need to be changed </a:t>
            </a:r>
            <a:endParaRPr lang="en-US" sz="3200" b="1" dirty="0">
              <a:solidFill>
                <a:srgbClr val="C00000"/>
              </a:solidFill>
            </a:endParaRPr>
          </a:p>
        </p:txBody>
      </p:sp>
      <p:sp>
        <p:nvSpPr>
          <p:cNvPr id="44" name="Téglalap 43"/>
          <p:cNvSpPr/>
          <p:nvPr/>
        </p:nvSpPr>
        <p:spPr bwMode="auto">
          <a:xfrm>
            <a:off x="2267743" y="1751707"/>
            <a:ext cx="5387270" cy="51261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5846" tIns="33231" rIns="33231" bIns="33231" numCol="1" rtlCol="0" anchor="ctr" anchorCtr="0" compatLnSpc="1">
            <a:prstTxWarp prst="textNoShape">
              <a:avLst/>
            </a:prstTxWarp>
          </a:bodyPr>
          <a:lstStyle/>
          <a:p>
            <a:pPr marL="342900" indent="-342900">
              <a:spcBef>
                <a:spcPts val="277"/>
              </a:spcBef>
              <a:buFont typeface="Wingdings" panose="05000000000000000000" pitchFamily="2" charset="2"/>
              <a:buChar char="Ø"/>
            </a:pPr>
            <a:r>
              <a:rPr lang="en-US" sz="2200" b="1" dirty="0">
                <a:solidFill>
                  <a:srgbClr val="00B050"/>
                </a:solidFill>
              </a:rPr>
              <a:t>Not the teacher is the main source of knowledge</a:t>
            </a:r>
          </a:p>
          <a:p>
            <a:pPr marL="342900" indent="-342900">
              <a:spcBef>
                <a:spcPts val="277"/>
              </a:spcBef>
              <a:buFont typeface="Wingdings" panose="05000000000000000000" pitchFamily="2" charset="2"/>
              <a:buChar char="Ø"/>
            </a:pPr>
            <a:r>
              <a:rPr lang="en-US" sz="2200" b="1" dirty="0">
                <a:solidFill>
                  <a:schemeClr val="accent3">
                    <a:lumMod val="50000"/>
                  </a:schemeClr>
                </a:solidFill>
              </a:rPr>
              <a:t>At the moment of questioning, they are looking for an immediate response on the Internet</a:t>
            </a:r>
          </a:p>
          <a:p>
            <a:pPr marL="342900" indent="-342900">
              <a:spcBef>
                <a:spcPts val="277"/>
              </a:spcBef>
              <a:buFont typeface="Wingdings" panose="05000000000000000000" pitchFamily="2" charset="2"/>
              <a:buChar char="Ø"/>
            </a:pPr>
            <a:r>
              <a:rPr lang="en-US" sz="2200" b="1" dirty="0">
                <a:solidFill>
                  <a:srgbClr val="00B050"/>
                </a:solidFill>
              </a:rPr>
              <a:t>They are questioning each other in the forums</a:t>
            </a:r>
          </a:p>
          <a:p>
            <a:pPr marL="342900" indent="-342900">
              <a:spcBef>
                <a:spcPts val="277"/>
              </a:spcBef>
              <a:buFont typeface="Wingdings" panose="05000000000000000000" pitchFamily="2" charset="2"/>
              <a:buChar char="Ø"/>
            </a:pPr>
            <a:r>
              <a:rPr lang="en-US" sz="2200" b="1" dirty="0">
                <a:solidFill>
                  <a:schemeClr val="accent3">
                    <a:lumMod val="50000"/>
                  </a:schemeClr>
                </a:solidFill>
              </a:rPr>
              <a:t>They are not just looking for information but sharing content</a:t>
            </a:r>
          </a:p>
          <a:p>
            <a:pPr marL="342900" indent="-342900">
              <a:spcBef>
                <a:spcPts val="277"/>
              </a:spcBef>
              <a:buFont typeface="Wingdings" panose="05000000000000000000" pitchFamily="2" charset="2"/>
              <a:buChar char="Ø"/>
            </a:pPr>
            <a:r>
              <a:rPr lang="en-US" sz="2200" b="1" dirty="0">
                <a:solidFill>
                  <a:srgbClr val="00B050"/>
                </a:solidFill>
              </a:rPr>
              <a:t>They create a huge information network </a:t>
            </a:r>
            <a:br>
              <a:rPr lang="en-US" sz="2200" b="1" dirty="0">
                <a:solidFill>
                  <a:srgbClr val="00B050"/>
                </a:solidFill>
              </a:rPr>
            </a:br>
            <a:r>
              <a:rPr lang="en-US" sz="2200" b="1" dirty="0">
                <a:solidFill>
                  <a:srgbClr val="00B050"/>
                </a:solidFill>
              </a:rPr>
              <a:t>(forums, chat rooms ...)</a:t>
            </a:r>
          </a:p>
          <a:p>
            <a:pPr marL="342900" indent="-342900">
              <a:spcBef>
                <a:spcPts val="277"/>
              </a:spcBef>
              <a:buFont typeface="Wingdings" panose="05000000000000000000" pitchFamily="2" charset="2"/>
              <a:buChar char="Ø"/>
            </a:pPr>
            <a:r>
              <a:rPr lang="en-US" sz="2200" b="1" dirty="0">
                <a:solidFill>
                  <a:schemeClr val="accent3">
                    <a:lumMod val="50000"/>
                  </a:schemeClr>
                </a:solidFill>
              </a:rPr>
              <a:t>The Internet is the media of learning and its platform is the center of personal learning</a:t>
            </a:r>
          </a:p>
        </p:txBody>
      </p:sp>
      <p:sp>
        <p:nvSpPr>
          <p:cNvPr id="45" name="Ötszög 44"/>
          <p:cNvSpPr/>
          <p:nvPr/>
        </p:nvSpPr>
        <p:spPr bwMode="auto">
          <a:xfrm>
            <a:off x="16673" y="2625343"/>
            <a:ext cx="2251071" cy="2916824"/>
          </a:xfrm>
          <a:prstGeom prst="homePlate">
            <a:avLst>
              <a:gd name="adj" fmla="val 17796"/>
            </a:avLst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33231" rIns="33231" bIns="33231" numCol="1" rtlCol="0" anchor="ctr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2400" b="1" dirty="0">
                <a:solidFill>
                  <a:schemeClr val="bg1"/>
                </a:solidFill>
              </a:rPr>
              <a:t>The skills, competencies and abilities </a:t>
            </a:r>
            <a:r>
              <a:rPr lang="hu-HU" sz="2400" b="1" dirty="0" smtClean="0">
                <a:solidFill>
                  <a:schemeClr val="bg1"/>
                </a:solidFill>
              </a:rPr>
              <a:t/>
            </a:r>
            <a:br>
              <a:rPr lang="hu-HU" sz="2400" b="1" dirty="0" smtClean="0">
                <a:solidFill>
                  <a:schemeClr val="bg1"/>
                </a:solidFill>
              </a:rPr>
            </a:br>
            <a:r>
              <a:rPr lang="en-US" sz="2400" b="1" dirty="0" smtClean="0">
                <a:solidFill>
                  <a:schemeClr val="bg1"/>
                </a:solidFill>
              </a:rPr>
              <a:t>of </a:t>
            </a:r>
            <a:r>
              <a:rPr lang="en-US" sz="2400" b="1" dirty="0">
                <a:solidFill>
                  <a:schemeClr val="bg1"/>
                </a:solidFill>
              </a:rPr>
              <a:t>the new generations have changed</a:t>
            </a:r>
          </a:p>
        </p:txBody>
      </p:sp>
      <p:sp>
        <p:nvSpPr>
          <p:cNvPr id="50" name="Háromszög 49"/>
          <p:cNvSpPr/>
          <p:nvPr/>
        </p:nvSpPr>
        <p:spPr bwMode="auto">
          <a:xfrm rot="5400000">
            <a:off x="5628715" y="4397474"/>
            <a:ext cx="4353959" cy="294044"/>
          </a:xfrm>
          <a:prstGeom prst="triangle">
            <a:avLst/>
          </a:prstGeom>
          <a:solidFill>
            <a:schemeClr val="bg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6462" tIns="66462" rIns="66462" bIns="664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en-US" sz="1662" dirty="0">
              <a:latin typeface="Arial" charset="0"/>
            </a:endParaRPr>
          </a:p>
        </p:txBody>
      </p:sp>
      <p:pic>
        <p:nvPicPr>
          <p:cNvPr id="20" name="Kép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4" name="Kép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617" y="5542167"/>
            <a:ext cx="2269361" cy="1335681"/>
          </a:xfrm>
          <a:prstGeom prst="rect">
            <a:avLst/>
          </a:prstGeom>
        </p:spPr>
      </p:pic>
      <p:sp>
        <p:nvSpPr>
          <p:cNvPr id="5" name="Dia számának hely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99" y="1761671"/>
            <a:ext cx="2215386" cy="853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1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ZIE_PPT_alap_rgb.ti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997"/>
            <a:ext cx="9136534" cy="68397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9593" y="1011434"/>
            <a:ext cx="8244408" cy="838200"/>
          </a:xfrm>
        </p:spPr>
        <p:txBody>
          <a:bodyPr>
            <a:normAutofit fontScale="90000"/>
          </a:bodyPr>
          <a:lstStyle/>
          <a:p>
            <a:pPr algn="l"/>
            <a:r>
              <a:rPr lang="en-US" b="1" dirty="0" smtClean="0">
                <a:solidFill>
                  <a:srgbClr val="09422E"/>
                </a:solidFill>
                <a:latin typeface="Bembo-AH-Bold"/>
                <a:cs typeface="Bembo-AH-Bold"/>
              </a:rPr>
              <a:t>New problems - new approaches</a:t>
            </a:r>
            <a:endParaRPr lang="en-US" b="1" dirty="0">
              <a:solidFill>
                <a:srgbClr val="09422E"/>
              </a:solidFill>
              <a:latin typeface="Bembo-AH-Bold"/>
              <a:cs typeface="Bembo-AH-Bold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56124" y="1885342"/>
            <a:ext cx="6772207" cy="4937657"/>
          </a:xfrm>
        </p:spPr>
        <p:txBody>
          <a:bodyPr>
            <a:no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600" b="1" dirty="0" smtClean="0">
                <a:solidFill>
                  <a:schemeClr val="accent5">
                    <a:lumMod val="75000"/>
                  </a:schemeClr>
                </a:solidFill>
                <a:latin typeface="Helvetica-AH"/>
                <a:cs typeface="Helvetica-AH"/>
              </a:rPr>
              <a:t>Z generation don’t prefer </a:t>
            </a:r>
            <a:r>
              <a:rPr lang="hu-HU" sz="2600" b="1" dirty="0" smtClean="0">
                <a:solidFill>
                  <a:schemeClr val="accent5">
                    <a:lumMod val="75000"/>
                  </a:schemeClr>
                </a:solidFill>
                <a:latin typeface="Helvetica-AH"/>
                <a:cs typeface="Helvetica-AH"/>
              </a:rPr>
              <a:t/>
            </a:r>
            <a:br>
              <a:rPr lang="hu-HU" sz="2600" b="1" dirty="0" smtClean="0">
                <a:solidFill>
                  <a:schemeClr val="accent5">
                    <a:lumMod val="75000"/>
                  </a:schemeClr>
                </a:solidFill>
                <a:latin typeface="Helvetica-AH"/>
                <a:cs typeface="Helvetica-AH"/>
              </a:rPr>
            </a:br>
            <a:r>
              <a:rPr lang="en-US" sz="2600" b="1" dirty="0" smtClean="0">
                <a:solidFill>
                  <a:schemeClr val="accent5">
                    <a:lumMod val="75000"/>
                  </a:schemeClr>
                </a:solidFill>
                <a:latin typeface="Helvetica-AH"/>
                <a:cs typeface="Helvetica-AH"/>
              </a:rPr>
              <a:t>the trainings, based on lecture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600" b="1" dirty="0" smtClean="0">
                <a:solidFill>
                  <a:srgbClr val="00B050"/>
                </a:solidFill>
                <a:latin typeface="Helvetica-AH"/>
                <a:cs typeface="Helvetica-AH"/>
              </a:rPr>
              <a:t>They prefer problem-based education, collaborative learning and </a:t>
            </a:r>
            <a:r>
              <a:rPr lang="hu-HU" sz="2600" b="1" dirty="0" smtClean="0">
                <a:solidFill>
                  <a:srgbClr val="00B050"/>
                </a:solidFill>
                <a:latin typeface="Helvetica-AH"/>
                <a:cs typeface="Helvetica-AH"/>
              </a:rPr>
              <a:t/>
            </a:r>
            <a:br>
              <a:rPr lang="hu-HU" sz="2600" b="1" dirty="0" smtClean="0">
                <a:solidFill>
                  <a:srgbClr val="00B050"/>
                </a:solidFill>
                <a:latin typeface="Helvetica-AH"/>
                <a:cs typeface="Helvetica-AH"/>
              </a:rPr>
            </a:br>
            <a:r>
              <a:rPr lang="en-US" sz="2600" b="1" dirty="0" smtClean="0">
                <a:solidFill>
                  <a:srgbClr val="00B050"/>
                </a:solidFill>
                <a:latin typeface="Helvetica-AH"/>
                <a:cs typeface="Helvetica-AH"/>
              </a:rPr>
              <a:t>project work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600" b="1" dirty="0" smtClean="0">
                <a:solidFill>
                  <a:schemeClr val="accent5">
                    <a:lumMod val="75000"/>
                  </a:schemeClr>
                </a:solidFill>
                <a:latin typeface="Helvetica-AH"/>
                <a:cs typeface="Helvetica-AH"/>
              </a:rPr>
              <a:t>This requires 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C00000"/>
                </a:solidFill>
                <a:latin typeface="Helvetica-AH"/>
                <a:cs typeface="Helvetica-AH"/>
              </a:rPr>
              <a:t>new types of teachers </a:t>
            </a:r>
            <a:r>
              <a:rPr lang="en-US" sz="2400" b="1" dirty="0" smtClean="0">
                <a:solidFill>
                  <a:srgbClr val="00B050"/>
                </a:solidFill>
                <a:latin typeface="Helvetica-AH"/>
                <a:cs typeface="Helvetica-AH"/>
              </a:rPr>
              <a:t>with new skills</a:t>
            </a:r>
            <a:r>
              <a:rPr lang="hu-HU" sz="2400" b="1" dirty="0" smtClean="0">
                <a:solidFill>
                  <a:srgbClr val="C00000"/>
                </a:solidFill>
                <a:latin typeface="Helvetica-AH"/>
                <a:cs typeface="Helvetica-AH"/>
              </a:rPr>
              <a:t>;</a:t>
            </a:r>
            <a:endParaRPr lang="en-US" sz="2400" b="1" dirty="0" smtClean="0">
              <a:solidFill>
                <a:srgbClr val="C00000"/>
              </a:solidFill>
              <a:latin typeface="Helvetica-AH"/>
              <a:cs typeface="Helvetica-AH"/>
            </a:endParaRP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C00000"/>
                </a:solidFill>
                <a:latin typeface="Helvetica-AH"/>
                <a:cs typeface="Helvetica-AH"/>
              </a:rPr>
              <a:t>a moderating facilitator teacher</a:t>
            </a:r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  <a:latin typeface="Helvetica-AH"/>
                <a:cs typeface="Helvetica-AH"/>
              </a:rPr>
              <a:t> role for group activities</a:t>
            </a:r>
            <a:r>
              <a:rPr lang="hu-HU" sz="2400" b="1" dirty="0" smtClean="0">
                <a:solidFill>
                  <a:schemeClr val="accent5">
                    <a:lumMod val="75000"/>
                  </a:schemeClr>
                </a:solidFill>
                <a:latin typeface="Helvetica-AH"/>
                <a:cs typeface="Helvetica-AH"/>
              </a:rPr>
              <a:t>;</a:t>
            </a:r>
            <a:endParaRPr lang="en-US" sz="2400" b="1" dirty="0" smtClean="0">
              <a:solidFill>
                <a:schemeClr val="accent5">
                  <a:lumMod val="75000"/>
                </a:schemeClr>
              </a:solidFill>
              <a:latin typeface="Helvetica-AH"/>
              <a:cs typeface="Helvetica-AH"/>
            </a:endParaRP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00B050"/>
                </a:solidFill>
                <a:latin typeface="Helvetica-AH"/>
                <a:cs typeface="Helvetica-AH"/>
              </a:rPr>
              <a:t>a teacher who has high level of </a:t>
            </a:r>
            <a:r>
              <a:rPr lang="en-US" sz="2400" b="1" dirty="0">
                <a:solidFill>
                  <a:srgbClr val="C00000"/>
                </a:solidFill>
                <a:latin typeface="Helvetica-AH"/>
                <a:cs typeface="Helvetica-AH"/>
              </a:rPr>
              <a:t>technological knowledge and ability</a:t>
            </a:r>
            <a:endParaRPr lang="en-US" sz="2400" b="1" dirty="0" smtClean="0">
              <a:solidFill>
                <a:srgbClr val="C00000"/>
              </a:solidFill>
              <a:latin typeface="Helvetica-AH"/>
              <a:cs typeface="Helvetica-AH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5" y="4712635"/>
            <a:ext cx="2578177" cy="2110363"/>
          </a:xfrm>
          <a:prstGeom prst="rect">
            <a:avLst/>
          </a:prstGeom>
        </p:spPr>
      </p:pic>
      <p:pic>
        <p:nvPicPr>
          <p:cNvPr id="10" name="Kép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0" y="3972868"/>
            <a:ext cx="2207923" cy="739768"/>
          </a:xfrm>
          <a:prstGeom prst="rect">
            <a:avLst/>
          </a:prstGeom>
        </p:spPr>
      </p:pic>
      <p:pic>
        <p:nvPicPr>
          <p:cNvPr id="13" name="Kép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93" y="1805555"/>
            <a:ext cx="2167313" cy="2167313"/>
          </a:xfrm>
          <a:prstGeom prst="rect">
            <a:avLst/>
          </a:prstGeom>
        </p:spPr>
      </p:pic>
      <p:pic>
        <p:nvPicPr>
          <p:cNvPr id="11" name="Kép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503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ép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2" y="1"/>
            <a:ext cx="9132600" cy="6840305"/>
          </a:xfrm>
          <a:prstGeom prst="rect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 rot="16200000">
            <a:off x="-1566993" y="3488031"/>
            <a:ext cx="6257385" cy="836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9422E"/>
                </a:solidFill>
                <a:latin typeface="Bembo-AH-Bold"/>
                <a:cs typeface="Bembo-AH-Bold"/>
              </a:rPr>
              <a:t>What will be the solution?</a:t>
            </a:r>
            <a:endParaRPr lang="en-US" sz="3200" dirty="0">
              <a:solidFill>
                <a:schemeClr val="accent1"/>
              </a:solidFill>
            </a:endParaRPr>
          </a:p>
        </p:txBody>
      </p:sp>
      <p:sp>
        <p:nvSpPr>
          <p:cNvPr id="44" name="Téglalap 43"/>
          <p:cNvSpPr/>
          <p:nvPr/>
        </p:nvSpPr>
        <p:spPr bwMode="auto">
          <a:xfrm>
            <a:off x="2267744" y="2202931"/>
            <a:ext cx="4598840" cy="467491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5846" tIns="33231" rIns="33231" bIns="33231" numCol="1" rtlCol="0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277"/>
              </a:spcBef>
            </a:pPr>
            <a:endParaRPr lang="en-US" sz="2400" b="1" dirty="0">
              <a:solidFill>
                <a:srgbClr val="0070C0"/>
              </a:solidFill>
            </a:endParaRPr>
          </a:p>
        </p:txBody>
      </p:sp>
      <p:sp>
        <p:nvSpPr>
          <p:cNvPr id="50" name="Háromszög 49"/>
          <p:cNvSpPr/>
          <p:nvPr/>
        </p:nvSpPr>
        <p:spPr bwMode="auto">
          <a:xfrm rot="5400000">
            <a:off x="4836627" y="4393367"/>
            <a:ext cx="4353959" cy="294044"/>
          </a:xfrm>
          <a:prstGeom prst="triangle">
            <a:avLst/>
          </a:prstGeom>
          <a:solidFill>
            <a:schemeClr val="bg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6462" tIns="66462" rIns="66462" bIns="6646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en-US" sz="1662" dirty="0">
              <a:latin typeface="Arial" charset="0"/>
            </a:endParaRPr>
          </a:p>
        </p:txBody>
      </p:sp>
      <p:pic>
        <p:nvPicPr>
          <p:cNvPr id="20" name="Kép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3" y="1"/>
            <a:ext cx="3979263" cy="1060148"/>
          </a:xfrm>
          <a:prstGeom prst="rect">
            <a:avLst/>
          </a:prstGeom>
        </p:spPr>
      </p:pic>
      <p:pic>
        <p:nvPicPr>
          <p:cNvPr id="6" name="Kép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79712" y="982825"/>
            <a:ext cx="6707088" cy="5846440"/>
          </a:xfrm>
          <a:prstGeom prst="rect">
            <a:avLst/>
          </a:prstGeom>
        </p:spPr>
      </p:pic>
      <p:sp>
        <p:nvSpPr>
          <p:cNvPr id="5" name="Dia számának hely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713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ZIE_Presentation_altalanos</Template>
  <TotalTime>11757</TotalTime>
  <Words>481</Words>
  <Application>Microsoft Office PowerPoint</Application>
  <PresentationFormat>Prezentácia na obrazovke (4:3)</PresentationFormat>
  <Paragraphs>114</Paragraphs>
  <Slides>21</Slides>
  <Notes>21</Notes>
  <HiddenSlides>0</HiddenSlides>
  <MMClips>0</MMClips>
  <ScaleCrop>false</ScaleCrop>
  <HeadingPairs>
    <vt:vector size="8" baseType="variant">
      <vt:variant>
        <vt:lpstr>Použité písma</vt:lpstr>
      </vt:variant>
      <vt:variant>
        <vt:i4>9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2</vt:i4>
      </vt:variant>
      <vt:variant>
        <vt:lpstr>Nadpisy snímok</vt:lpstr>
      </vt:variant>
      <vt:variant>
        <vt:i4>21</vt:i4>
      </vt:variant>
    </vt:vector>
  </HeadingPairs>
  <TitlesOfParts>
    <vt:vector size="33" baseType="lpstr">
      <vt:lpstr>arial</vt:lpstr>
      <vt:lpstr>arial</vt:lpstr>
      <vt:lpstr>Arial Narrow</vt:lpstr>
      <vt:lpstr>Bembo-AH</vt:lpstr>
      <vt:lpstr>Bembo-AH-Bold</vt:lpstr>
      <vt:lpstr>Calibri</vt:lpstr>
      <vt:lpstr>Helvetica-AH</vt:lpstr>
      <vt:lpstr>Times New Roman</vt:lpstr>
      <vt:lpstr>Wingdings</vt:lpstr>
      <vt:lpstr>Office-téma</vt:lpstr>
      <vt:lpstr>think-cell Slide</vt:lpstr>
      <vt:lpstr>Dokumentum</vt:lpstr>
      <vt:lpstr>Internet of Things in Agricultural Education,  the Gödöllő example</vt:lpstr>
      <vt:lpstr>What I’m going to say?</vt:lpstr>
      <vt:lpstr>The major challenges Agricultural and food production</vt:lpstr>
      <vt:lpstr>Traditional university</vt:lpstr>
      <vt:lpstr>Adapting to new digital technologies</vt:lpstr>
      <vt:lpstr>Lack of specialist  in higher education and agriculture</vt:lpstr>
      <vt:lpstr>Z generation, „digital natives”</vt:lpstr>
      <vt:lpstr>New problems - new approaches</vt:lpstr>
      <vt:lpstr>What will be the solution?</vt:lpstr>
      <vt:lpstr>Difficulties</vt:lpstr>
      <vt:lpstr>Difficulties</vt:lpstr>
      <vt:lpstr>Major components of Internet of Things (IoT)</vt:lpstr>
      <vt:lpstr>Digital Campus System; IoT </vt:lpstr>
      <vt:lpstr>Prezentácia programu PowerPoint</vt:lpstr>
      <vt:lpstr>Multiple campus video conferencing system</vt:lpstr>
      <vt:lpstr>The university of tomorrow</vt:lpstr>
      <vt:lpstr>Structure of „Internet of Learning Materials”</vt:lpstr>
      <vt:lpstr>SkillToolkit screen page</vt:lpstr>
      <vt:lpstr>Effectiveness of learning methods</vt:lpstr>
      <vt:lpstr>Prezentácia programu PowerPoint</vt:lpstr>
      <vt:lpstr>Prezentácia programu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ZIE Nyitok tanulási központ</dc:title>
  <dc:creator>Mezei Tibor</dc:creator>
  <cp:lastModifiedBy>Windows User</cp:lastModifiedBy>
  <cp:revision>388</cp:revision>
  <dcterms:created xsi:type="dcterms:W3CDTF">2017-10-10T13:30:01Z</dcterms:created>
  <dcterms:modified xsi:type="dcterms:W3CDTF">2018-09-18T05:15:14Z</dcterms:modified>
</cp:coreProperties>
</file>